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omments/comment1.xml" ContentType="application/vnd.openxmlformats-officedocument.presentationml.comment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7" r:id="rId1"/>
    <p:sldMasterId id="2147483857" r:id="rId2"/>
    <p:sldMasterId id="2147483888" r:id="rId3"/>
    <p:sldMasterId id="2147483919" r:id="rId4"/>
  </p:sldMasterIdLst>
  <p:notesMasterIdLst>
    <p:notesMasterId r:id="rId15"/>
  </p:notesMasterIdLst>
  <p:handoutMasterIdLst>
    <p:handoutMasterId r:id="rId16"/>
  </p:handoutMasterIdLst>
  <p:sldIdLst>
    <p:sldId id="307" r:id="rId5"/>
    <p:sldId id="306" r:id="rId6"/>
    <p:sldId id="302" r:id="rId7"/>
    <p:sldId id="311" r:id="rId8"/>
    <p:sldId id="301" r:id="rId9"/>
    <p:sldId id="258" r:id="rId10"/>
    <p:sldId id="260" r:id="rId11"/>
    <p:sldId id="263" r:id="rId12"/>
    <p:sldId id="261" r:id="rId13"/>
    <p:sldId id="259" r:id="rId14"/>
  </p:sldIdLst>
  <p:sldSz cx="12192000" cy="6858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ASHBOARD" id="{89976F01-A1D7-4E95-B12F-577068E4C89F}">
          <p14:sldIdLst>
            <p14:sldId id="307"/>
            <p14:sldId id="306"/>
            <p14:sldId id="302"/>
            <p14:sldId id="311"/>
            <p14:sldId id="301"/>
          </p14:sldIdLst>
        </p14:section>
        <p14:section name="Tables" id="{87416D69-FE67-46C3-8DAB-B46640599577}">
          <p14:sldIdLst>
            <p14:sldId id="258"/>
            <p14:sldId id="260"/>
            <p14:sldId id="263"/>
            <p14:sldId id="261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391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257" userDrawn="1">
          <p15:clr>
            <a:srgbClr val="A4A3A4"/>
          </p15:clr>
        </p15:guide>
        <p15:guide id="9" orient="horz" pos="2160" userDrawn="1">
          <p15:clr>
            <a:srgbClr val="A4A3A4"/>
          </p15:clr>
        </p15:guide>
        <p15:guide id="10" pos="370" userDrawn="1">
          <p15:clr>
            <a:srgbClr val="A4A3A4"/>
          </p15:clr>
        </p15:guide>
        <p15:guide id="11" pos="74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VENCHERE Sandrine" initials="PS" lastIdx="3" clrIdx="0">
    <p:extLst>
      <p:ext uri="{19B8F6BF-5375-455C-9EA6-DF929625EA0E}">
        <p15:presenceInfo xmlns:p15="http://schemas.microsoft.com/office/powerpoint/2012/main" userId="PROVENCHERE Sandri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96B4"/>
    <a:srgbClr val="F9ADB0"/>
    <a:srgbClr val="FAB8BA"/>
    <a:srgbClr val="F99093"/>
    <a:srgbClr val="F9F9F9"/>
    <a:srgbClr val="D4D5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8ED66F-C424-402F-9749-40C7F3FCA5C4}" v="2835" dt="2021-04-14T19:29:03.7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81" autoAdjust="0"/>
    <p:restoredTop sz="96567" autoAdjust="0"/>
  </p:normalViewPr>
  <p:slideViewPr>
    <p:cSldViewPr snapToGrid="0">
      <p:cViewPr>
        <p:scale>
          <a:sx n="125" d="100"/>
          <a:sy n="125" d="100"/>
        </p:scale>
        <p:origin x="184" y="192"/>
      </p:cViewPr>
      <p:guideLst>
        <p:guide orient="horz" pos="391"/>
        <p:guide orient="horz" pos="3974"/>
        <p:guide pos="3840"/>
        <p:guide pos="257"/>
        <p:guide orient="horz" pos="2160"/>
        <p:guide pos="370"/>
        <p:guide pos="74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66"/>
    </p:cViewPr>
  </p:sorterViewPr>
  <p:notesViewPr>
    <p:cSldViewPr snapToGrid="0">
      <p:cViewPr varScale="1">
        <p:scale>
          <a:sx n="85" d="100"/>
          <a:sy n="85" d="100"/>
        </p:scale>
        <p:origin x="30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OVENCHERE Sandrine" userId="ad1decff-d2ce-4d29-9d90-3591b80bc438" providerId="ADAL" clId="{1E215674-DDB3-40FF-B836-35094D8596A4}"/>
    <pc:docChg chg="undo custSel modSld">
      <pc:chgData name="PROVENCHERE Sandrine" userId="ad1decff-d2ce-4d29-9d90-3591b80bc438" providerId="ADAL" clId="{1E215674-DDB3-40FF-B836-35094D8596A4}" dt="2021-04-14T19:29:03.730" v="11646" actId="12789"/>
      <pc:docMkLst>
        <pc:docMk/>
      </pc:docMkLst>
      <pc:sldChg chg="addSp delSp modSp">
        <pc:chgData name="PROVENCHERE Sandrine" userId="ad1decff-d2ce-4d29-9d90-3591b80bc438" providerId="ADAL" clId="{1E215674-DDB3-40FF-B836-35094D8596A4}" dt="2021-04-14T17:10:48.117" v="8686" actId="1076"/>
        <pc:sldMkLst>
          <pc:docMk/>
          <pc:sldMk cId="1940952397" sldId="259"/>
        </pc:sldMkLst>
        <pc:graphicFrameChg chg="add del">
          <ac:chgData name="PROVENCHERE Sandrine" userId="ad1decff-d2ce-4d29-9d90-3591b80bc438" providerId="ADAL" clId="{1E215674-DDB3-40FF-B836-35094D8596A4}" dt="2021-04-14T17:10:38.154" v="8682"/>
          <ac:graphicFrameMkLst>
            <pc:docMk/>
            <pc:sldMk cId="1940952397" sldId="259"/>
            <ac:graphicFrameMk id="2" creationId="{673408A6-90F8-42C9-B69B-0FFACBCD19A3}"/>
          </ac:graphicFrameMkLst>
        </pc:graphicFrameChg>
        <pc:graphicFrameChg chg="del">
          <ac:chgData name="PROVENCHERE Sandrine" userId="ad1decff-d2ce-4d29-9d90-3591b80bc438" providerId="ADAL" clId="{1E215674-DDB3-40FF-B836-35094D8596A4}" dt="2021-04-14T17:10:33.453" v="8680" actId="478"/>
          <ac:graphicFrameMkLst>
            <pc:docMk/>
            <pc:sldMk cId="1940952397" sldId="259"/>
            <ac:graphicFrameMk id="3" creationId="{DAECF795-DE65-43EF-9A93-CE3E24463F42}"/>
          </ac:graphicFrameMkLst>
        </pc:graphicFrameChg>
        <pc:graphicFrameChg chg="add mod">
          <ac:chgData name="PROVENCHERE Sandrine" userId="ad1decff-d2ce-4d29-9d90-3591b80bc438" providerId="ADAL" clId="{1E215674-DDB3-40FF-B836-35094D8596A4}" dt="2021-04-14T17:10:48.117" v="8686" actId="1076"/>
          <ac:graphicFrameMkLst>
            <pc:docMk/>
            <pc:sldMk cId="1940952397" sldId="259"/>
            <ac:graphicFrameMk id="4" creationId="{B8C1397C-E880-41FA-A7FE-33091FA6CAE6}"/>
          </ac:graphicFrameMkLst>
        </pc:graphicFrameChg>
        <pc:cxnChg chg="add del">
          <ac:chgData name="PROVENCHERE Sandrine" userId="ad1decff-d2ce-4d29-9d90-3591b80bc438" providerId="ADAL" clId="{1E215674-DDB3-40FF-B836-35094D8596A4}" dt="2021-04-14T17:10:38.154" v="8682"/>
          <ac:cxnSpMkLst>
            <pc:docMk/>
            <pc:sldMk cId="1940952397" sldId="259"/>
            <ac:cxnSpMk id="10" creationId="{A701ECE0-5ED8-41BB-979D-0F1F42758BA2}"/>
          </ac:cxnSpMkLst>
        </pc:cxnChg>
        <pc:cxnChg chg="add del">
          <ac:chgData name="PROVENCHERE Sandrine" userId="ad1decff-d2ce-4d29-9d90-3591b80bc438" providerId="ADAL" clId="{1E215674-DDB3-40FF-B836-35094D8596A4}" dt="2021-04-14T17:10:38.154" v="8682"/>
          <ac:cxnSpMkLst>
            <pc:docMk/>
            <pc:sldMk cId="1940952397" sldId="259"/>
            <ac:cxnSpMk id="12" creationId="{4E46B7C2-60E5-4F96-A36F-01E24AE74931}"/>
          </ac:cxnSpMkLst>
        </pc:cxnChg>
        <pc:cxnChg chg="add del">
          <ac:chgData name="PROVENCHERE Sandrine" userId="ad1decff-d2ce-4d29-9d90-3591b80bc438" providerId="ADAL" clId="{1E215674-DDB3-40FF-B836-35094D8596A4}" dt="2021-04-14T17:10:38.154" v="8682"/>
          <ac:cxnSpMkLst>
            <pc:docMk/>
            <pc:sldMk cId="1940952397" sldId="259"/>
            <ac:cxnSpMk id="13" creationId="{D18B7B22-244F-4B05-B56C-43D0F8B24F3E}"/>
          </ac:cxnSpMkLst>
        </pc:cxnChg>
        <pc:cxnChg chg="add del">
          <ac:chgData name="PROVENCHERE Sandrine" userId="ad1decff-d2ce-4d29-9d90-3591b80bc438" providerId="ADAL" clId="{1E215674-DDB3-40FF-B836-35094D8596A4}" dt="2021-04-14T17:10:38.154" v="8682"/>
          <ac:cxnSpMkLst>
            <pc:docMk/>
            <pc:sldMk cId="1940952397" sldId="259"/>
            <ac:cxnSpMk id="14" creationId="{FACE77F8-33D6-4B5C-A6C0-3791CA7E1A09}"/>
          </ac:cxnSpMkLst>
        </pc:cxnChg>
      </pc:sldChg>
      <pc:sldChg chg="addSp delSp modSp">
        <pc:chgData name="PROVENCHERE Sandrine" userId="ad1decff-d2ce-4d29-9d90-3591b80bc438" providerId="ADAL" clId="{1E215674-DDB3-40FF-B836-35094D8596A4}" dt="2021-04-14T17:09:02.746" v="8664" actId="14100"/>
        <pc:sldMkLst>
          <pc:docMk/>
          <pc:sldMk cId="4153218655" sldId="260"/>
        </pc:sldMkLst>
        <pc:graphicFrameChg chg="add mod">
          <ac:chgData name="PROVENCHERE Sandrine" userId="ad1decff-d2ce-4d29-9d90-3591b80bc438" providerId="ADAL" clId="{1E215674-DDB3-40FF-B836-35094D8596A4}" dt="2021-04-14T17:09:02.746" v="8664" actId="14100"/>
          <ac:graphicFrameMkLst>
            <pc:docMk/>
            <pc:sldMk cId="4153218655" sldId="260"/>
            <ac:graphicFrameMk id="3" creationId="{3576B291-870D-44FD-9FA3-AA1BF14D1F78}"/>
          </ac:graphicFrameMkLst>
        </pc:graphicFrameChg>
        <pc:graphicFrameChg chg="del">
          <ac:chgData name="PROVENCHERE Sandrine" userId="ad1decff-d2ce-4d29-9d90-3591b80bc438" providerId="ADAL" clId="{1E215674-DDB3-40FF-B836-35094D8596A4}" dt="2021-04-14T17:08:38.648" v="8660" actId="478"/>
          <ac:graphicFrameMkLst>
            <pc:docMk/>
            <pc:sldMk cId="4153218655" sldId="260"/>
            <ac:graphicFrameMk id="5" creationId="{1911993D-2923-41C0-8237-1A404DDC0DCC}"/>
          </ac:graphicFrameMkLst>
        </pc:graphicFrameChg>
      </pc:sldChg>
      <pc:sldChg chg="addSp delSp modSp">
        <pc:chgData name="PROVENCHERE Sandrine" userId="ad1decff-d2ce-4d29-9d90-3591b80bc438" providerId="ADAL" clId="{1E215674-DDB3-40FF-B836-35094D8596A4}" dt="2021-04-14T17:10:24.055" v="8679" actId="1076"/>
        <pc:sldMkLst>
          <pc:docMk/>
          <pc:sldMk cId="1742461301" sldId="261"/>
        </pc:sldMkLst>
        <pc:graphicFrameChg chg="add mod">
          <ac:chgData name="PROVENCHERE Sandrine" userId="ad1decff-d2ce-4d29-9d90-3591b80bc438" providerId="ADAL" clId="{1E215674-DDB3-40FF-B836-35094D8596A4}" dt="2021-04-14T17:10:24.055" v="8679" actId="1076"/>
          <ac:graphicFrameMkLst>
            <pc:docMk/>
            <pc:sldMk cId="1742461301" sldId="261"/>
            <ac:graphicFrameMk id="2" creationId="{B6BE4C5B-B06C-499F-8268-08338F67009B}"/>
          </ac:graphicFrameMkLst>
        </pc:graphicFrameChg>
        <pc:graphicFrameChg chg="del">
          <ac:chgData name="PROVENCHERE Sandrine" userId="ad1decff-d2ce-4d29-9d90-3591b80bc438" providerId="ADAL" clId="{1E215674-DDB3-40FF-B836-35094D8596A4}" dt="2021-04-14T17:09:46.770" v="8671" actId="478"/>
          <ac:graphicFrameMkLst>
            <pc:docMk/>
            <pc:sldMk cId="1742461301" sldId="261"/>
            <ac:graphicFrameMk id="3" creationId="{E55E9CB4-E035-41E0-B1CE-C5E4B817863F}"/>
          </ac:graphicFrameMkLst>
        </pc:graphicFrameChg>
      </pc:sldChg>
      <pc:sldChg chg="addSp delSp modSp">
        <pc:chgData name="PROVENCHERE Sandrine" userId="ad1decff-d2ce-4d29-9d90-3591b80bc438" providerId="ADAL" clId="{1E215674-DDB3-40FF-B836-35094D8596A4}" dt="2021-04-14T17:09:39.231" v="8670" actId="1076"/>
        <pc:sldMkLst>
          <pc:docMk/>
          <pc:sldMk cId="1904957226" sldId="263"/>
        </pc:sldMkLst>
        <pc:graphicFrameChg chg="add mod">
          <ac:chgData name="PROVENCHERE Sandrine" userId="ad1decff-d2ce-4d29-9d90-3591b80bc438" providerId="ADAL" clId="{1E215674-DDB3-40FF-B836-35094D8596A4}" dt="2021-04-14T17:09:39.231" v="8670" actId="1076"/>
          <ac:graphicFrameMkLst>
            <pc:docMk/>
            <pc:sldMk cId="1904957226" sldId="263"/>
            <ac:graphicFrameMk id="3" creationId="{38B6BD78-6A45-408D-AF7D-EC04AA6CB92D}"/>
          </ac:graphicFrameMkLst>
        </pc:graphicFrameChg>
        <pc:graphicFrameChg chg="del">
          <ac:chgData name="PROVENCHERE Sandrine" userId="ad1decff-d2ce-4d29-9d90-3591b80bc438" providerId="ADAL" clId="{1E215674-DDB3-40FF-B836-35094D8596A4}" dt="2021-04-14T17:09:09.338" v="8665" actId="478"/>
          <ac:graphicFrameMkLst>
            <pc:docMk/>
            <pc:sldMk cId="1904957226" sldId="263"/>
            <ac:graphicFrameMk id="4" creationId="{6F6E84E8-626D-48A6-8DB2-01F3C9097124}"/>
          </ac:graphicFrameMkLst>
        </pc:graphicFrameChg>
      </pc:sldChg>
      <pc:sldChg chg="addSp delSp modSp">
        <pc:chgData name="PROVENCHERE Sandrine" userId="ad1decff-d2ce-4d29-9d90-3591b80bc438" providerId="ADAL" clId="{1E215674-DDB3-40FF-B836-35094D8596A4}" dt="2021-04-14T17:08:22.149" v="8659" actId="1036"/>
        <pc:sldMkLst>
          <pc:docMk/>
          <pc:sldMk cId="4225315447" sldId="301"/>
        </pc:sldMkLst>
        <pc:spChg chg="mod ord">
          <ac:chgData name="PROVENCHERE Sandrine" userId="ad1decff-d2ce-4d29-9d90-3591b80bc438" providerId="ADAL" clId="{1E215674-DDB3-40FF-B836-35094D8596A4}" dt="2021-04-14T17:07:25.857" v="8566"/>
          <ac:spMkLst>
            <pc:docMk/>
            <pc:sldMk cId="4225315447" sldId="301"/>
            <ac:spMk id="2" creationId="{F9B1A035-2CF0-4F9D-9E1F-5C99E51D4AFC}"/>
          </ac:spMkLst>
        </pc:spChg>
        <pc:spChg chg="add del mod ord modVis">
          <ac:chgData name="PROVENCHERE Sandrine" userId="ad1decff-d2ce-4d29-9d90-3591b80bc438" providerId="ADAL" clId="{1E215674-DDB3-40FF-B836-35094D8596A4}" dt="2021-04-14T17:07:25.929" v="8645"/>
          <ac:spMkLst>
            <pc:docMk/>
            <pc:sldMk cId="4225315447" sldId="301"/>
            <ac:spMk id="4" creationId="{92A2C7AD-DA25-4F84-8078-F17352B4B56E}"/>
          </ac:spMkLst>
        </pc:spChg>
        <pc:spChg chg="mod ord">
          <ac:chgData name="PROVENCHERE Sandrine" userId="ad1decff-d2ce-4d29-9d90-3591b80bc438" providerId="ADAL" clId="{1E215674-DDB3-40FF-B836-35094D8596A4}" dt="2021-04-14T17:07:25.859" v="8568"/>
          <ac:spMkLst>
            <pc:docMk/>
            <pc:sldMk cId="4225315447" sldId="301"/>
            <ac:spMk id="6" creationId="{FB489620-C6BF-4186-8E3F-F876FA63F9D0}"/>
          </ac:spMkLst>
        </pc:spChg>
        <pc:spChg chg="mod ord">
          <ac:chgData name="PROVENCHERE Sandrine" userId="ad1decff-d2ce-4d29-9d90-3591b80bc438" providerId="ADAL" clId="{1E215674-DDB3-40FF-B836-35094D8596A4}" dt="2021-04-14T17:07:25.860" v="8570"/>
          <ac:spMkLst>
            <pc:docMk/>
            <pc:sldMk cId="4225315447" sldId="301"/>
            <ac:spMk id="7" creationId="{6745335D-FC8B-48AC-8398-E11E408D4F76}"/>
          </ac:spMkLst>
        </pc:spChg>
        <pc:spChg chg="mod ord">
          <ac:chgData name="PROVENCHERE Sandrine" userId="ad1decff-d2ce-4d29-9d90-3591b80bc438" providerId="ADAL" clId="{1E215674-DDB3-40FF-B836-35094D8596A4}" dt="2021-04-14T17:08:22.149" v="8659" actId="1036"/>
          <ac:spMkLst>
            <pc:docMk/>
            <pc:sldMk cId="4225315447" sldId="301"/>
            <ac:spMk id="14" creationId="{9D549740-A941-4BE6-91AB-10114099C5D3}"/>
          </ac:spMkLst>
        </pc:spChg>
        <pc:spChg chg="mod">
          <ac:chgData name="PROVENCHERE Sandrine" userId="ad1decff-d2ce-4d29-9d90-3591b80bc438" providerId="ADAL" clId="{1E215674-DDB3-40FF-B836-35094D8596A4}" dt="2021-04-14T17:07:25.881" v="8591"/>
          <ac:spMkLst>
            <pc:docMk/>
            <pc:sldMk cId="4225315447" sldId="301"/>
            <ac:spMk id="68" creationId="{56C86E98-5142-43B2-B21A-D8FAEB0EABD4}"/>
          </ac:spMkLst>
        </pc:spChg>
        <pc:spChg chg="mod ord">
          <ac:chgData name="PROVENCHERE Sandrine" userId="ad1decff-d2ce-4d29-9d90-3591b80bc438" providerId="ADAL" clId="{1E215674-DDB3-40FF-B836-35094D8596A4}" dt="2021-04-14T17:08:22.149" v="8659" actId="1036"/>
          <ac:spMkLst>
            <pc:docMk/>
            <pc:sldMk cId="4225315447" sldId="301"/>
            <ac:spMk id="71" creationId="{EC6758B0-B622-4FC5-A398-E5DF4655F1C2}"/>
          </ac:spMkLst>
        </pc:spChg>
        <pc:spChg chg="mod">
          <ac:chgData name="PROVENCHERE Sandrine" userId="ad1decff-d2ce-4d29-9d90-3591b80bc438" providerId="ADAL" clId="{1E215674-DDB3-40FF-B836-35094D8596A4}" dt="2021-04-14T17:07:25.882" v="8592"/>
          <ac:spMkLst>
            <pc:docMk/>
            <pc:sldMk cId="4225315447" sldId="301"/>
            <ac:spMk id="76" creationId="{0D4177E7-9542-42E8-9731-1C60CBD220AB}"/>
          </ac:spMkLst>
        </pc:spChg>
        <pc:spChg chg="mod ord">
          <ac:chgData name="PROVENCHERE Sandrine" userId="ad1decff-d2ce-4d29-9d90-3591b80bc438" providerId="ADAL" clId="{1E215674-DDB3-40FF-B836-35094D8596A4}" dt="2021-04-14T17:07:25.852" v="8558"/>
          <ac:spMkLst>
            <pc:docMk/>
            <pc:sldMk cId="4225315447" sldId="301"/>
            <ac:spMk id="95" creationId="{95EFB8ED-8525-44D3-81E0-0D09718A157A}"/>
          </ac:spMkLst>
        </pc:spChg>
        <pc:spChg chg="mod ord">
          <ac:chgData name="PROVENCHERE Sandrine" userId="ad1decff-d2ce-4d29-9d90-3591b80bc438" providerId="ADAL" clId="{1E215674-DDB3-40FF-B836-35094D8596A4}" dt="2021-04-14T17:07:25.909" v="8619"/>
          <ac:spMkLst>
            <pc:docMk/>
            <pc:sldMk cId="4225315447" sldId="301"/>
            <ac:spMk id="98" creationId="{F0937B19-5489-4B9E-A69B-119AB1EA458D}"/>
          </ac:spMkLst>
        </pc:spChg>
        <pc:spChg chg="mod ord">
          <ac:chgData name="PROVENCHERE Sandrine" userId="ad1decff-d2ce-4d29-9d90-3591b80bc438" providerId="ADAL" clId="{1E215674-DDB3-40FF-B836-35094D8596A4}" dt="2021-04-14T17:07:25.911" v="8621"/>
          <ac:spMkLst>
            <pc:docMk/>
            <pc:sldMk cId="4225315447" sldId="301"/>
            <ac:spMk id="99" creationId="{49164E85-8617-4DC4-BD6B-C8C57128CE6D}"/>
          </ac:spMkLst>
        </pc:spChg>
        <pc:spChg chg="mod">
          <ac:chgData name="PROVENCHERE Sandrine" userId="ad1decff-d2ce-4d29-9d90-3591b80bc438" providerId="ADAL" clId="{1E215674-DDB3-40FF-B836-35094D8596A4}" dt="2021-04-14T17:07:25.876" v="8587"/>
          <ac:spMkLst>
            <pc:docMk/>
            <pc:sldMk cId="4225315447" sldId="301"/>
            <ac:spMk id="129" creationId="{5B7059E9-43A6-4A6A-A599-97632AE01570}"/>
          </ac:spMkLst>
        </pc:spChg>
        <pc:spChg chg="mod">
          <ac:chgData name="PROVENCHERE Sandrine" userId="ad1decff-d2ce-4d29-9d90-3591b80bc438" providerId="ADAL" clId="{1E215674-DDB3-40FF-B836-35094D8596A4}" dt="2021-04-14T17:07:25.877" v="8588"/>
          <ac:spMkLst>
            <pc:docMk/>
            <pc:sldMk cId="4225315447" sldId="301"/>
            <ac:spMk id="132" creationId="{2A1C2A04-DF16-4F40-975F-860868DBC354}"/>
          </ac:spMkLst>
        </pc:spChg>
        <pc:spChg chg="mod ord">
          <ac:chgData name="PROVENCHERE Sandrine" userId="ad1decff-d2ce-4d29-9d90-3591b80bc438" providerId="ADAL" clId="{1E215674-DDB3-40FF-B836-35094D8596A4}" dt="2021-04-14T17:07:25.867" v="8580"/>
          <ac:spMkLst>
            <pc:docMk/>
            <pc:sldMk cId="4225315447" sldId="301"/>
            <ac:spMk id="133" creationId="{4831262B-A26E-47A5-A286-710C146AE50D}"/>
          </ac:spMkLst>
        </pc:spChg>
        <pc:spChg chg="mod ord">
          <ac:chgData name="PROVENCHERE Sandrine" userId="ad1decff-d2ce-4d29-9d90-3591b80bc438" providerId="ADAL" clId="{1E215674-DDB3-40FF-B836-35094D8596A4}" dt="2021-04-14T17:07:25.864" v="8576"/>
          <ac:spMkLst>
            <pc:docMk/>
            <pc:sldMk cId="4225315447" sldId="301"/>
            <ac:spMk id="145" creationId="{FCA74808-F434-4FB1-BE5E-2F031EAA0FDE}"/>
          </ac:spMkLst>
        </pc:spChg>
        <pc:spChg chg="mod">
          <ac:chgData name="PROVENCHERE Sandrine" userId="ad1decff-d2ce-4d29-9d90-3591b80bc438" providerId="ADAL" clId="{1E215674-DDB3-40FF-B836-35094D8596A4}" dt="2021-04-14T17:07:25.871" v="8582"/>
          <ac:spMkLst>
            <pc:docMk/>
            <pc:sldMk cId="4225315447" sldId="301"/>
            <ac:spMk id="146" creationId="{2052B8E4-724C-447E-9CDA-FF93C0EBFE5D}"/>
          </ac:spMkLst>
        </pc:spChg>
        <pc:spChg chg="mod">
          <ac:chgData name="PROVENCHERE Sandrine" userId="ad1decff-d2ce-4d29-9d90-3591b80bc438" providerId="ADAL" clId="{1E215674-DDB3-40FF-B836-35094D8596A4}" dt="2021-04-14T17:07:25.874" v="8584"/>
          <ac:spMkLst>
            <pc:docMk/>
            <pc:sldMk cId="4225315447" sldId="301"/>
            <ac:spMk id="147" creationId="{A6A6738F-F0E0-486F-9139-0830926B3AD9}"/>
          </ac:spMkLst>
        </pc:spChg>
        <pc:spChg chg="mod">
          <ac:chgData name="PROVENCHERE Sandrine" userId="ad1decff-d2ce-4d29-9d90-3591b80bc438" providerId="ADAL" clId="{1E215674-DDB3-40FF-B836-35094D8596A4}" dt="2021-04-14T17:07:25.872" v="8583"/>
          <ac:spMkLst>
            <pc:docMk/>
            <pc:sldMk cId="4225315447" sldId="301"/>
            <ac:spMk id="148" creationId="{BBBED07B-9BF3-49F2-B15C-32DE30829C4F}"/>
          </ac:spMkLst>
        </pc:spChg>
        <pc:spChg chg="mod">
          <ac:chgData name="PROVENCHERE Sandrine" userId="ad1decff-d2ce-4d29-9d90-3591b80bc438" providerId="ADAL" clId="{1E215674-DDB3-40FF-B836-35094D8596A4}" dt="2021-04-14T17:07:25.874" v="8585"/>
          <ac:spMkLst>
            <pc:docMk/>
            <pc:sldMk cId="4225315447" sldId="301"/>
            <ac:spMk id="150" creationId="{5FF19DBF-43B9-4F47-88D6-892CEA366C21}"/>
          </ac:spMkLst>
        </pc:spChg>
        <pc:spChg chg="mod">
          <ac:chgData name="PROVENCHERE Sandrine" userId="ad1decff-d2ce-4d29-9d90-3591b80bc438" providerId="ADAL" clId="{1E215674-DDB3-40FF-B836-35094D8596A4}" dt="2021-04-14T17:07:25.875" v="8586"/>
          <ac:spMkLst>
            <pc:docMk/>
            <pc:sldMk cId="4225315447" sldId="301"/>
            <ac:spMk id="151" creationId="{D886DA7A-7E73-490B-A584-A4D185A304C9}"/>
          </ac:spMkLst>
        </pc:spChg>
        <pc:spChg chg="mod">
          <ac:chgData name="PROVENCHERE Sandrine" userId="ad1decff-d2ce-4d29-9d90-3591b80bc438" providerId="ADAL" clId="{1E215674-DDB3-40FF-B836-35094D8596A4}" dt="2021-04-14T17:07:25.880" v="8590"/>
          <ac:spMkLst>
            <pc:docMk/>
            <pc:sldMk cId="4225315447" sldId="301"/>
            <ac:spMk id="153" creationId="{B4C5BA8C-7DBF-49E9-AA9D-5549C836B8F4}"/>
          </ac:spMkLst>
        </pc:spChg>
        <pc:spChg chg="mod">
          <ac:chgData name="PROVENCHERE Sandrine" userId="ad1decff-d2ce-4d29-9d90-3591b80bc438" providerId="ADAL" clId="{1E215674-DDB3-40FF-B836-35094D8596A4}" dt="2021-04-14T17:07:25.879" v="8589"/>
          <ac:spMkLst>
            <pc:docMk/>
            <pc:sldMk cId="4225315447" sldId="301"/>
            <ac:spMk id="154" creationId="{77A52775-0D34-4F19-A17F-B58D0EAA86AB}"/>
          </ac:spMkLst>
        </pc:spChg>
        <pc:spChg chg="mod">
          <ac:chgData name="PROVENCHERE Sandrine" userId="ad1decff-d2ce-4d29-9d90-3591b80bc438" providerId="ADAL" clId="{1E215674-DDB3-40FF-B836-35094D8596A4}" dt="2021-04-14T17:07:25.884" v="8594"/>
          <ac:spMkLst>
            <pc:docMk/>
            <pc:sldMk cId="4225315447" sldId="301"/>
            <ac:spMk id="155" creationId="{1E03B198-07C0-4269-95E4-B461A9DFB222}"/>
          </ac:spMkLst>
        </pc:spChg>
        <pc:spChg chg="mod">
          <ac:chgData name="PROVENCHERE Sandrine" userId="ad1decff-d2ce-4d29-9d90-3591b80bc438" providerId="ADAL" clId="{1E215674-DDB3-40FF-B836-35094D8596A4}" dt="2021-04-14T17:07:25.883" v="8593"/>
          <ac:spMkLst>
            <pc:docMk/>
            <pc:sldMk cId="4225315447" sldId="301"/>
            <ac:spMk id="156" creationId="{ACAE95C9-3B62-45D6-B8CC-694C1F63E976}"/>
          </ac:spMkLst>
        </pc:spChg>
        <pc:spChg chg="mod">
          <ac:chgData name="PROVENCHERE Sandrine" userId="ad1decff-d2ce-4d29-9d90-3591b80bc438" providerId="ADAL" clId="{1E215674-DDB3-40FF-B836-35094D8596A4}" dt="2021-04-14T17:07:25.885" v="8595"/>
          <ac:spMkLst>
            <pc:docMk/>
            <pc:sldMk cId="4225315447" sldId="301"/>
            <ac:spMk id="157" creationId="{6DDBECF7-8C5D-4120-9EF0-E8D640FB88FF}"/>
          </ac:spMkLst>
        </pc:spChg>
        <pc:spChg chg="mod">
          <ac:chgData name="PROVENCHERE Sandrine" userId="ad1decff-d2ce-4d29-9d90-3591b80bc438" providerId="ADAL" clId="{1E215674-DDB3-40FF-B836-35094D8596A4}" dt="2021-04-14T17:07:25.887" v="8596"/>
          <ac:spMkLst>
            <pc:docMk/>
            <pc:sldMk cId="4225315447" sldId="301"/>
            <ac:spMk id="158" creationId="{B3473F50-670B-43ED-AF3C-72A60F9C0F21}"/>
          </ac:spMkLst>
        </pc:spChg>
        <pc:spChg chg="mod">
          <ac:chgData name="PROVENCHERE Sandrine" userId="ad1decff-d2ce-4d29-9d90-3591b80bc438" providerId="ADAL" clId="{1E215674-DDB3-40FF-B836-35094D8596A4}" dt="2021-04-14T17:07:25.895" v="8603"/>
          <ac:spMkLst>
            <pc:docMk/>
            <pc:sldMk cId="4225315447" sldId="301"/>
            <ac:spMk id="160" creationId="{F294ACFE-BD76-4FF7-9600-C2A421E2AB21}"/>
          </ac:spMkLst>
        </pc:spChg>
        <pc:spChg chg="mod">
          <ac:chgData name="PROVENCHERE Sandrine" userId="ad1decff-d2ce-4d29-9d90-3591b80bc438" providerId="ADAL" clId="{1E215674-DDB3-40FF-B836-35094D8596A4}" dt="2021-04-14T17:07:25.899" v="8606"/>
          <ac:spMkLst>
            <pc:docMk/>
            <pc:sldMk cId="4225315447" sldId="301"/>
            <ac:spMk id="161" creationId="{37A5F7BA-13A2-4C54-B62A-A9E8A6C14D45}"/>
          </ac:spMkLst>
        </pc:spChg>
        <pc:spChg chg="mod">
          <ac:chgData name="PROVENCHERE Sandrine" userId="ad1decff-d2ce-4d29-9d90-3591b80bc438" providerId="ADAL" clId="{1E215674-DDB3-40FF-B836-35094D8596A4}" dt="2021-04-14T17:07:25.890" v="8599"/>
          <ac:spMkLst>
            <pc:docMk/>
            <pc:sldMk cId="4225315447" sldId="301"/>
            <ac:spMk id="162" creationId="{A5B439A7-DF17-413E-B1D8-A0ECCF4FE4CE}"/>
          </ac:spMkLst>
        </pc:spChg>
        <pc:spChg chg="mod">
          <ac:chgData name="PROVENCHERE Sandrine" userId="ad1decff-d2ce-4d29-9d90-3591b80bc438" providerId="ADAL" clId="{1E215674-DDB3-40FF-B836-35094D8596A4}" dt="2021-04-14T17:07:25.891" v="8600"/>
          <ac:spMkLst>
            <pc:docMk/>
            <pc:sldMk cId="4225315447" sldId="301"/>
            <ac:spMk id="163" creationId="{718627F3-50D9-4D97-80C1-DD26C7D4B8C0}"/>
          </ac:spMkLst>
        </pc:spChg>
        <pc:spChg chg="mod">
          <ac:chgData name="PROVENCHERE Sandrine" userId="ad1decff-d2ce-4d29-9d90-3591b80bc438" providerId="ADAL" clId="{1E215674-DDB3-40FF-B836-35094D8596A4}" dt="2021-04-14T17:07:25.892" v="8601"/>
          <ac:spMkLst>
            <pc:docMk/>
            <pc:sldMk cId="4225315447" sldId="301"/>
            <ac:spMk id="164" creationId="{AFD30AB5-9152-4985-8BFC-2F06F5ADED9A}"/>
          </ac:spMkLst>
        </pc:spChg>
        <pc:spChg chg="mod">
          <ac:chgData name="PROVENCHERE Sandrine" userId="ad1decff-d2ce-4d29-9d90-3591b80bc438" providerId="ADAL" clId="{1E215674-DDB3-40FF-B836-35094D8596A4}" dt="2021-04-14T17:07:25.899" v="8605"/>
          <ac:spMkLst>
            <pc:docMk/>
            <pc:sldMk cId="4225315447" sldId="301"/>
            <ac:spMk id="168" creationId="{AAD17029-FDDA-448C-BF13-577BA6F74FD2}"/>
          </ac:spMkLst>
        </pc:spChg>
        <pc:spChg chg="mod">
          <ac:chgData name="PROVENCHERE Sandrine" userId="ad1decff-d2ce-4d29-9d90-3591b80bc438" providerId="ADAL" clId="{1E215674-DDB3-40FF-B836-35094D8596A4}" dt="2021-04-14T17:07:25.900" v="8607"/>
          <ac:spMkLst>
            <pc:docMk/>
            <pc:sldMk cId="4225315447" sldId="301"/>
            <ac:spMk id="169" creationId="{E78AAA22-A149-4799-A10A-F9288E5F9E8F}"/>
          </ac:spMkLst>
        </pc:spChg>
        <pc:spChg chg="mod">
          <ac:chgData name="PROVENCHERE Sandrine" userId="ad1decff-d2ce-4d29-9d90-3591b80bc438" providerId="ADAL" clId="{1E215674-DDB3-40FF-B836-35094D8596A4}" dt="2021-04-14T17:07:25.902" v="8608"/>
          <ac:spMkLst>
            <pc:docMk/>
            <pc:sldMk cId="4225315447" sldId="301"/>
            <ac:spMk id="170" creationId="{52621BC1-C784-4FEC-AE44-5A8556A007CE}"/>
          </ac:spMkLst>
        </pc:spChg>
        <pc:spChg chg="mod">
          <ac:chgData name="PROVENCHERE Sandrine" userId="ad1decff-d2ce-4d29-9d90-3591b80bc438" providerId="ADAL" clId="{1E215674-DDB3-40FF-B836-35094D8596A4}" dt="2021-04-14T17:07:25.903" v="8609"/>
          <ac:spMkLst>
            <pc:docMk/>
            <pc:sldMk cId="4225315447" sldId="301"/>
            <ac:spMk id="173" creationId="{E3455FAA-AD84-4AAE-88E7-1667E73AB419}"/>
          </ac:spMkLst>
        </pc:spChg>
        <pc:spChg chg="mod">
          <ac:chgData name="PROVENCHERE Sandrine" userId="ad1decff-d2ce-4d29-9d90-3591b80bc438" providerId="ADAL" clId="{1E215674-DDB3-40FF-B836-35094D8596A4}" dt="2021-04-14T17:07:25.889" v="8598"/>
          <ac:spMkLst>
            <pc:docMk/>
            <pc:sldMk cId="4225315447" sldId="301"/>
            <ac:spMk id="174" creationId="{EFD6BCAC-30FB-4CF2-A00A-EDF32F55B264}"/>
          </ac:spMkLst>
        </pc:spChg>
        <pc:spChg chg="mod ord">
          <ac:chgData name="PROVENCHERE Sandrine" userId="ad1decff-d2ce-4d29-9d90-3591b80bc438" providerId="ADAL" clId="{1E215674-DDB3-40FF-B836-35094D8596A4}" dt="2021-04-14T17:07:25.904" v="8611"/>
          <ac:spMkLst>
            <pc:docMk/>
            <pc:sldMk cId="4225315447" sldId="301"/>
            <ac:spMk id="178" creationId="{F48AE032-8349-4D23-AA1B-0CB2DFBBA03D}"/>
          </ac:spMkLst>
        </pc:spChg>
        <pc:spChg chg="mod">
          <ac:chgData name="PROVENCHERE Sandrine" userId="ad1decff-d2ce-4d29-9d90-3591b80bc438" providerId="ADAL" clId="{1E215674-DDB3-40FF-B836-35094D8596A4}" dt="2021-04-14T17:07:25.894" v="8602"/>
          <ac:spMkLst>
            <pc:docMk/>
            <pc:sldMk cId="4225315447" sldId="301"/>
            <ac:spMk id="218" creationId="{B22116CF-A9AF-423C-893C-FDD7D90CA7D3}"/>
          </ac:spMkLst>
        </pc:spChg>
        <pc:spChg chg="mod">
          <ac:chgData name="PROVENCHERE Sandrine" userId="ad1decff-d2ce-4d29-9d90-3591b80bc438" providerId="ADAL" clId="{1E215674-DDB3-40FF-B836-35094D8596A4}" dt="2021-04-14T17:07:25.898" v="8604"/>
          <ac:spMkLst>
            <pc:docMk/>
            <pc:sldMk cId="4225315447" sldId="301"/>
            <ac:spMk id="223" creationId="{84A01702-8DB0-42AE-9C4B-F8980921E941}"/>
          </ac:spMkLst>
        </pc:spChg>
        <pc:spChg chg="mod ord">
          <ac:chgData name="PROVENCHERE Sandrine" userId="ad1decff-d2ce-4d29-9d90-3591b80bc438" providerId="ADAL" clId="{1E215674-DDB3-40FF-B836-35094D8596A4}" dt="2021-04-14T17:07:25.922" v="8637"/>
          <ac:spMkLst>
            <pc:docMk/>
            <pc:sldMk cId="4225315447" sldId="301"/>
            <ac:spMk id="273" creationId="{ECCFAE51-245D-4D55-81AD-B97B1FD81D3E}"/>
          </ac:spMkLst>
        </pc:spChg>
        <pc:spChg chg="mod ord">
          <ac:chgData name="PROVENCHERE Sandrine" userId="ad1decff-d2ce-4d29-9d90-3591b80bc438" providerId="ADAL" clId="{1E215674-DDB3-40FF-B836-35094D8596A4}" dt="2021-04-14T17:07:25.923" v="8639"/>
          <ac:spMkLst>
            <pc:docMk/>
            <pc:sldMk cId="4225315447" sldId="301"/>
            <ac:spMk id="274" creationId="{77D109C9-1C0C-4449-984E-E7DA0AA3F340}"/>
          </ac:spMkLst>
        </pc:spChg>
        <pc:spChg chg="mod ord">
          <ac:chgData name="PROVENCHERE Sandrine" userId="ad1decff-d2ce-4d29-9d90-3591b80bc438" providerId="ADAL" clId="{1E215674-DDB3-40FF-B836-35094D8596A4}" dt="2021-04-14T17:07:25.861" v="8572"/>
          <ac:spMkLst>
            <pc:docMk/>
            <pc:sldMk cId="4225315447" sldId="301"/>
            <ac:spMk id="739" creationId="{33C78E60-2E06-449B-AF6E-274549A09B03}"/>
          </ac:spMkLst>
        </pc:spChg>
        <pc:spChg chg="mod ord">
          <ac:chgData name="PROVENCHERE Sandrine" userId="ad1decff-d2ce-4d29-9d90-3591b80bc438" providerId="ADAL" clId="{1E215674-DDB3-40FF-B836-35094D8596A4}" dt="2021-04-14T17:07:25.862" v="8574"/>
          <ac:spMkLst>
            <pc:docMk/>
            <pc:sldMk cId="4225315447" sldId="301"/>
            <ac:spMk id="742" creationId="{ABC18BB4-82C9-4223-AAD8-AE0995D1758D}"/>
          </ac:spMkLst>
        </pc:spChg>
        <pc:spChg chg="mod ord">
          <ac:chgData name="PROVENCHERE Sandrine" userId="ad1decff-d2ce-4d29-9d90-3591b80bc438" providerId="ADAL" clId="{1E215674-DDB3-40FF-B836-35094D8596A4}" dt="2021-04-14T17:07:25.856" v="8564"/>
          <ac:spMkLst>
            <pc:docMk/>
            <pc:sldMk cId="4225315447" sldId="301"/>
            <ac:spMk id="870" creationId="{C75659F7-9CB2-4887-8A0C-810962CD176B}"/>
          </ac:spMkLst>
        </pc:spChg>
        <pc:spChg chg="mod ord">
          <ac:chgData name="PROVENCHERE Sandrine" userId="ad1decff-d2ce-4d29-9d90-3591b80bc438" providerId="ADAL" clId="{1E215674-DDB3-40FF-B836-35094D8596A4}" dt="2021-04-14T17:07:25.855" v="8562"/>
          <ac:spMkLst>
            <pc:docMk/>
            <pc:sldMk cId="4225315447" sldId="301"/>
            <ac:spMk id="871" creationId="{64210237-1B7A-4D9A-8DEF-E0D7D025F0C2}"/>
          </ac:spMkLst>
        </pc:spChg>
        <pc:graphicFrameChg chg="mod ord">
          <ac:chgData name="PROVENCHERE Sandrine" userId="ad1decff-d2ce-4d29-9d90-3591b80bc438" providerId="ADAL" clId="{1E215674-DDB3-40FF-B836-35094D8596A4}" dt="2021-04-14T17:07:25.926" v="8643"/>
          <ac:graphicFrameMkLst>
            <pc:docMk/>
            <pc:sldMk cId="4225315447" sldId="301"/>
            <ac:graphicFrameMk id="3" creationId="{DF0D7C7F-1667-4335-A3D4-845FCD7427E0}"/>
          </ac:graphicFrameMkLst>
        </pc:graphicFrameChg>
        <pc:graphicFrameChg chg="add mod">
          <ac:chgData name="PROVENCHERE Sandrine" userId="ad1decff-d2ce-4d29-9d90-3591b80bc438" providerId="ADAL" clId="{1E215674-DDB3-40FF-B836-35094D8596A4}" dt="2021-04-14T17:07:25.888" v="8597"/>
          <ac:graphicFrameMkLst>
            <pc:docMk/>
            <pc:sldMk cId="4225315447" sldId="301"/>
            <ac:graphicFrameMk id="62" creationId="{F122216A-4DEB-4CF4-B3FE-ADA2F0989FCB}"/>
          </ac:graphicFrameMkLst>
        </pc:graphicFrameChg>
        <pc:graphicFrameChg chg="del">
          <ac:chgData name="PROVENCHERE Sandrine" userId="ad1decff-d2ce-4d29-9d90-3591b80bc438" providerId="ADAL" clId="{1E215674-DDB3-40FF-B836-35094D8596A4}" dt="2021-04-14T17:07:25.774" v="8549"/>
          <ac:graphicFrameMkLst>
            <pc:docMk/>
            <pc:sldMk cId="4225315447" sldId="301"/>
            <ac:graphicFrameMk id="65" creationId="{A62988DB-8BD9-46E0-B150-B0A1AC3E4D35}"/>
          </ac:graphicFrameMkLst>
        </pc:graphicFrameChg>
        <pc:graphicFrameChg chg="mod">
          <ac:chgData name="PROVENCHERE Sandrine" userId="ad1decff-d2ce-4d29-9d90-3591b80bc438" providerId="ADAL" clId="{1E215674-DDB3-40FF-B836-35094D8596A4}" dt="2021-04-14T17:07:25.869" v="8581"/>
          <ac:graphicFrameMkLst>
            <pc:docMk/>
            <pc:sldMk cId="4225315447" sldId="301"/>
            <ac:graphicFrameMk id="73" creationId="{19873F2F-4DAF-4D60-A499-28C97B478CA5}"/>
          </ac:graphicFrameMkLst>
        </pc:graphicFrameChg>
        <pc:graphicFrameChg chg="mod ord">
          <ac:chgData name="PROVENCHERE Sandrine" userId="ad1decff-d2ce-4d29-9d90-3591b80bc438" providerId="ADAL" clId="{1E215674-DDB3-40FF-B836-35094D8596A4}" dt="2021-04-14T17:07:25.949" v="8647"/>
          <ac:graphicFrameMkLst>
            <pc:docMk/>
            <pc:sldMk cId="4225315447" sldId="301"/>
            <ac:graphicFrameMk id="100" creationId="{8589F35F-0A8D-4311-B1FF-908064655556}"/>
          </ac:graphicFrameMkLst>
        </pc:graphicFrameChg>
        <pc:picChg chg="mod ord">
          <ac:chgData name="PROVENCHERE Sandrine" userId="ad1decff-d2ce-4d29-9d90-3591b80bc438" providerId="ADAL" clId="{1E215674-DDB3-40FF-B836-35094D8596A4}" dt="2021-04-14T17:07:25.915" v="8627"/>
          <ac:picMkLst>
            <pc:docMk/>
            <pc:sldMk cId="4225315447" sldId="301"/>
            <ac:picMk id="102" creationId="{ADAB5243-799D-430E-968D-3F885EFE4B0F}"/>
          </ac:picMkLst>
        </pc:picChg>
        <pc:picChg chg="mod ord">
          <ac:chgData name="PROVENCHERE Sandrine" userId="ad1decff-d2ce-4d29-9d90-3591b80bc438" providerId="ADAL" clId="{1E215674-DDB3-40FF-B836-35094D8596A4}" dt="2021-04-14T17:07:25.916" v="8629"/>
          <ac:picMkLst>
            <pc:docMk/>
            <pc:sldMk cId="4225315447" sldId="301"/>
            <ac:picMk id="103" creationId="{796BCA53-CE98-4823-A0B6-E73339B26374}"/>
          </ac:picMkLst>
        </pc:picChg>
        <pc:picChg chg="mod ord">
          <ac:chgData name="PROVENCHERE Sandrine" userId="ad1decff-d2ce-4d29-9d90-3591b80bc438" providerId="ADAL" clId="{1E215674-DDB3-40FF-B836-35094D8596A4}" dt="2021-04-14T17:07:25.866" v="8578"/>
          <ac:picMkLst>
            <pc:docMk/>
            <pc:sldMk cId="4225315447" sldId="301"/>
            <ac:picMk id="149" creationId="{2BA8DE92-6738-4C04-AE1A-247FB8844C8B}"/>
          </ac:picMkLst>
        </pc:picChg>
        <pc:picChg chg="mod ord">
          <ac:chgData name="PROVENCHERE Sandrine" userId="ad1decff-d2ce-4d29-9d90-3591b80bc438" providerId="ADAL" clId="{1E215674-DDB3-40FF-B836-35094D8596A4}" dt="2021-04-14T17:07:25.905" v="8613"/>
          <ac:picMkLst>
            <pc:docMk/>
            <pc:sldMk cId="4225315447" sldId="301"/>
            <ac:picMk id="183" creationId="{0961CF9C-5EEE-4B4E-A048-A7BF5CDF0EB1}"/>
          </ac:picMkLst>
        </pc:picChg>
        <pc:picChg chg="mod ord">
          <ac:chgData name="PROVENCHERE Sandrine" userId="ad1decff-d2ce-4d29-9d90-3591b80bc438" providerId="ADAL" clId="{1E215674-DDB3-40FF-B836-35094D8596A4}" dt="2021-04-14T17:07:25.906" v="8615"/>
          <ac:picMkLst>
            <pc:docMk/>
            <pc:sldMk cId="4225315447" sldId="301"/>
            <ac:picMk id="184" creationId="{D03C2D69-7F94-4528-80D7-F007ADB06DA0}"/>
          </ac:picMkLst>
        </pc:picChg>
        <pc:picChg chg="mod ord">
          <ac:chgData name="PROVENCHERE Sandrine" userId="ad1decff-d2ce-4d29-9d90-3591b80bc438" providerId="ADAL" clId="{1E215674-DDB3-40FF-B836-35094D8596A4}" dt="2021-04-14T17:07:25.853" v="8560"/>
          <ac:picMkLst>
            <pc:docMk/>
            <pc:sldMk cId="4225315447" sldId="301"/>
            <ac:picMk id="869" creationId="{ACF24F4C-AA51-48A3-9BBB-F7448B2C06B3}"/>
          </ac:picMkLst>
        </pc:picChg>
        <pc:cxnChg chg="mod ord">
          <ac:chgData name="PROVENCHERE Sandrine" userId="ad1decff-d2ce-4d29-9d90-3591b80bc438" providerId="ADAL" clId="{1E215674-DDB3-40FF-B836-35094D8596A4}" dt="2021-04-14T17:07:25.918" v="8631"/>
          <ac:cxnSpMkLst>
            <pc:docMk/>
            <pc:sldMk cId="4225315447" sldId="301"/>
            <ac:cxnSpMk id="16" creationId="{D61B3765-AA7C-46B6-9B34-B8DC253EF02B}"/>
          </ac:cxnSpMkLst>
        </pc:cxnChg>
        <pc:cxnChg chg="mod ord">
          <ac:chgData name="PROVENCHERE Sandrine" userId="ad1decff-d2ce-4d29-9d90-3591b80bc438" providerId="ADAL" clId="{1E215674-DDB3-40FF-B836-35094D8596A4}" dt="2021-04-14T17:07:25.914" v="8625"/>
          <ac:cxnSpMkLst>
            <pc:docMk/>
            <pc:sldMk cId="4225315447" sldId="301"/>
            <ac:cxnSpMk id="101" creationId="{31F5732E-830B-4973-8237-9325C166A666}"/>
          </ac:cxnSpMkLst>
        </pc:cxnChg>
        <pc:cxnChg chg="mod ord">
          <ac:chgData name="PROVENCHERE Sandrine" userId="ad1decff-d2ce-4d29-9d90-3591b80bc438" providerId="ADAL" clId="{1E215674-DDB3-40FF-B836-35094D8596A4}" dt="2021-04-14T17:07:25.907" v="8617"/>
          <ac:cxnSpMkLst>
            <pc:docMk/>
            <pc:sldMk cId="4225315447" sldId="301"/>
            <ac:cxnSpMk id="185" creationId="{8E070C81-7978-4428-802F-E547D5658686}"/>
          </ac:cxnSpMkLst>
        </pc:cxnChg>
        <pc:cxnChg chg="mod ord">
          <ac:chgData name="PROVENCHERE Sandrine" userId="ad1decff-d2ce-4d29-9d90-3591b80bc438" providerId="ADAL" clId="{1E215674-DDB3-40FF-B836-35094D8596A4}" dt="2021-04-14T17:07:25.919" v="8633"/>
          <ac:cxnSpMkLst>
            <pc:docMk/>
            <pc:sldMk cId="4225315447" sldId="301"/>
            <ac:cxnSpMk id="271" creationId="{43995405-9F1C-413F-BAE8-4B292BEE38A3}"/>
          </ac:cxnSpMkLst>
        </pc:cxnChg>
        <pc:cxnChg chg="mod ord">
          <ac:chgData name="PROVENCHERE Sandrine" userId="ad1decff-d2ce-4d29-9d90-3591b80bc438" providerId="ADAL" clId="{1E215674-DDB3-40FF-B836-35094D8596A4}" dt="2021-04-14T17:07:25.920" v="8635"/>
          <ac:cxnSpMkLst>
            <pc:docMk/>
            <pc:sldMk cId="4225315447" sldId="301"/>
            <ac:cxnSpMk id="272" creationId="{0B8BD528-A892-4230-812F-CE7BBF389505}"/>
          </ac:cxnSpMkLst>
        </pc:cxnChg>
      </pc:sldChg>
      <pc:sldChg chg="addSp delSp modSp">
        <pc:chgData name="PROVENCHERE Sandrine" userId="ad1decff-d2ce-4d29-9d90-3591b80bc438" providerId="ADAL" clId="{1E215674-DDB3-40FF-B836-35094D8596A4}" dt="2021-04-14T19:29:03.730" v="11646" actId="12789"/>
        <pc:sldMkLst>
          <pc:docMk/>
          <pc:sldMk cId="2995402291" sldId="302"/>
        </pc:sldMkLst>
        <pc:spChg chg="mod ord">
          <ac:chgData name="PROVENCHERE Sandrine" userId="ad1decff-d2ce-4d29-9d90-3591b80bc438" providerId="ADAL" clId="{1E215674-DDB3-40FF-B836-35094D8596A4}" dt="2021-04-14T17:36:53.922" v="9481"/>
          <ac:spMkLst>
            <pc:docMk/>
            <pc:sldMk cId="2995402291" sldId="302"/>
            <ac:spMk id="2" creationId="{5660FD56-7A4F-47E5-8616-21914FCCBB4D}"/>
          </ac:spMkLst>
        </pc:spChg>
        <pc:spChg chg="add del mod modVis">
          <ac:chgData name="PROVENCHERE Sandrine" userId="ad1decff-d2ce-4d29-9d90-3591b80bc438" providerId="ADAL" clId="{1E215674-DDB3-40FF-B836-35094D8596A4}" dt="2021-04-14T17:13:01.136" v="8742"/>
          <ac:spMkLst>
            <pc:docMk/>
            <pc:sldMk cId="2995402291" sldId="302"/>
            <ac:spMk id="3" creationId="{65A66BFB-7BAC-45E8-B5FB-3384C7862763}"/>
          </ac:spMkLst>
        </pc:spChg>
        <pc:spChg chg="mod ord">
          <ac:chgData name="PROVENCHERE Sandrine" userId="ad1decff-d2ce-4d29-9d90-3591b80bc438" providerId="ADAL" clId="{1E215674-DDB3-40FF-B836-35094D8596A4}" dt="2021-04-14T19:28:50.517" v="11642" actId="1076"/>
          <ac:spMkLst>
            <pc:docMk/>
            <pc:sldMk cId="2995402291" sldId="302"/>
            <ac:spMk id="5" creationId="{033BE535-BEA1-47DF-9882-B02E4E1D9238}"/>
          </ac:spMkLst>
        </pc:spChg>
        <pc:spChg chg="mod ord">
          <ac:chgData name="PROVENCHERE Sandrine" userId="ad1decff-d2ce-4d29-9d90-3591b80bc438" providerId="ADAL" clId="{1E215674-DDB3-40FF-B836-35094D8596A4}" dt="2021-04-14T17:36:53.923" v="9483"/>
          <ac:spMkLst>
            <pc:docMk/>
            <pc:sldMk cId="2995402291" sldId="302"/>
            <ac:spMk id="6" creationId="{610CC8E6-A477-4C1F-9258-1E84E759FBB4}"/>
          </ac:spMkLst>
        </pc:spChg>
        <pc:spChg chg="mod ord">
          <ac:chgData name="PROVENCHERE Sandrine" userId="ad1decff-d2ce-4d29-9d90-3591b80bc438" providerId="ADAL" clId="{1E215674-DDB3-40FF-B836-35094D8596A4}" dt="2021-04-14T17:36:53.924" v="9485"/>
          <ac:spMkLst>
            <pc:docMk/>
            <pc:sldMk cId="2995402291" sldId="302"/>
            <ac:spMk id="7" creationId="{40C2ECF1-C101-40BA-B4EF-F194AC4BE985}"/>
          </ac:spMkLst>
        </pc:spChg>
        <pc:spChg chg="del mod">
          <ac:chgData name="PROVENCHERE Sandrine" userId="ad1decff-d2ce-4d29-9d90-3591b80bc438" providerId="ADAL" clId="{1E215674-DDB3-40FF-B836-35094D8596A4}" dt="2021-04-14T17:31:42.989" v="9081"/>
          <ac:spMkLst>
            <pc:docMk/>
            <pc:sldMk cId="2995402291" sldId="302"/>
            <ac:spMk id="9" creationId="{C46A9657-FDFE-4CC2-B724-83B37C357B7B}"/>
          </ac:spMkLst>
        </pc:spChg>
        <pc:spChg chg="del mod">
          <ac:chgData name="PROVENCHERE Sandrine" userId="ad1decff-d2ce-4d29-9d90-3591b80bc438" providerId="ADAL" clId="{1E215674-DDB3-40FF-B836-35094D8596A4}" dt="2021-04-14T17:31:42.897" v="9026"/>
          <ac:spMkLst>
            <pc:docMk/>
            <pc:sldMk cId="2995402291" sldId="302"/>
            <ac:spMk id="11" creationId="{E958E9EB-F260-4209-9BD0-50F21D242E8D}"/>
          </ac:spMkLst>
        </pc:spChg>
        <pc:spChg chg="add del mod modVis">
          <ac:chgData name="PROVENCHERE Sandrine" userId="ad1decff-d2ce-4d29-9d90-3591b80bc438" providerId="ADAL" clId="{1E215674-DDB3-40FF-B836-35094D8596A4}" dt="2021-04-14T17:13:03.616" v="8790"/>
          <ac:spMkLst>
            <pc:docMk/>
            <pc:sldMk cId="2995402291" sldId="302"/>
            <ac:spMk id="12" creationId="{2F6E07EC-9570-4003-AC64-46DDE7E1760C}"/>
          </ac:spMkLst>
        </pc:spChg>
        <pc:spChg chg="mod ord">
          <ac:chgData name="PROVENCHERE Sandrine" userId="ad1decff-d2ce-4d29-9d90-3591b80bc438" providerId="ADAL" clId="{1E215674-DDB3-40FF-B836-35094D8596A4}" dt="2021-04-14T17:36:53.918" v="9473"/>
          <ac:spMkLst>
            <pc:docMk/>
            <pc:sldMk cId="2995402291" sldId="302"/>
            <ac:spMk id="13" creationId="{45A28ABA-6C67-4EE2-A077-16F333614D0A}"/>
          </ac:spMkLst>
        </pc:spChg>
        <pc:spChg chg="add del mod modVis">
          <ac:chgData name="PROVENCHERE Sandrine" userId="ad1decff-d2ce-4d29-9d90-3591b80bc438" providerId="ADAL" clId="{1E215674-DDB3-40FF-B836-35094D8596A4}" dt="2021-04-14T17:13:04.728" v="8831"/>
          <ac:spMkLst>
            <pc:docMk/>
            <pc:sldMk cId="2995402291" sldId="302"/>
            <ac:spMk id="14" creationId="{54290A17-BD7E-40AA-BB11-3793D0E4E633}"/>
          </ac:spMkLst>
        </pc:spChg>
        <pc:spChg chg="del mod">
          <ac:chgData name="PROVENCHERE Sandrine" userId="ad1decff-d2ce-4d29-9d90-3591b80bc438" providerId="ADAL" clId="{1E215674-DDB3-40FF-B836-35094D8596A4}" dt="2021-04-14T17:31:42.866" v="9009"/>
          <ac:spMkLst>
            <pc:docMk/>
            <pc:sldMk cId="2995402291" sldId="302"/>
            <ac:spMk id="15" creationId="{1DB5F5CD-5D11-466A-8E16-34F34C9D8135}"/>
          </ac:spMkLst>
        </pc:spChg>
        <pc:spChg chg="add del mod ord modVis">
          <ac:chgData name="PROVENCHERE Sandrine" userId="ad1decff-d2ce-4d29-9d90-3591b80bc438" providerId="ADAL" clId="{1E215674-DDB3-40FF-B836-35094D8596A4}" dt="2021-04-14T17:36:53.946" v="9527"/>
          <ac:spMkLst>
            <pc:docMk/>
            <pc:sldMk cId="2995402291" sldId="302"/>
            <ac:spMk id="20" creationId="{EB96E697-17D2-428C-89B5-1B12F9EFABAB}"/>
          </ac:spMkLst>
        </pc:spChg>
        <pc:spChg chg="add del mod ord modVis">
          <ac:chgData name="PROVENCHERE Sandrine" userId="ad1decff-d2ce-4d29-9d90-3591b80bc438" providerId="ADAL" clId="{1E215674-DDB3-40FF-B836-35094D8596A4}" dt="2021-04-14T17:36:47.995" v="9466"/>
          <ac:spMkLst>
            <pc:docMk/>
            <pc:sldMk cId="2995402291" sldId="302"/>
            <ac:spMk id="21" creationId="{1443B13B-FD0A-4E85-9823-87FD251ACD97}"/>
          </ac:spMkLst>
        </pc:spChg>
        <pc:spChg chg="add mod">
          <ac:chgData name="PROVENCHERE Sandrine" userId="ad1decff-d2ce-4d29-9d90-3591b80bc438" providerId="ADAL" clId="{1E215674-DDB3-40FF-B836-35094D8596A4}" dt="2021-04-14T17:38:53.346" v="9615" actId="113"/>
          <ac:spMkLst>
            <pc:docMk/>
            <pc:sldMk cId="2995402291" sldId="302"/>
            <ac:spMk id="23" creationId="{DFD0CFEB-ECEE-4E38-B4A3-82FE5E0F2DBB}"/>
          </ac:spMkLst>
        </pc:spChg>
        <pc:spChg chg="add mod">
          <ac:chgData name="PROVENCHERE Sandrine" userId="ad1decff-d2ce-4d29-9d90-3591b80bc438" providerId="ADAL" clId="{1E215674-DDB3-40FF-B836-35094D8596A4}" dt="2021-04-14T17:44:25.761" v="9755" actId="404"/>
          <ac:spMkLst>
            <pc:docMk/>
            <pc:sldMk cId="2995402291" sldId="302"/>
            <ac:spMk id="29" creationId="{9B116BF7-25BC-425A-858C-5682142B7552}"/>
          </ac:spMkLst>
        </pc:spChg>
        <pc:spChg chg="add del mod">
          <ac:chgData name="PROVENCHERE Sandrine" userId="ad1decff-d2ce-4d29-9d90-3591b80bc438" providerId="ADAL" clId="{1E215674-DDB3-40FF-B836-35094D8596A4}" dt="2021-04-14T17:43:09.919" v="9676" actId="478"/>
          <ac:spMkLst>
            <pc:docMk/>
            <pc:sldMk cId="2995402291" sldId="302"/>
            <ac:spMk id="30" creationId="{EA814423-C802-4689-87E3-2FE13F4C985B}"/>
          </ac:spMkLst>
        </pc:spChg>
        <pc:spChg chg="del mod">
          <ac:chgData name="PROVENCHERE Sandrine" userId="ad1decff-d2ce-4d29-9d90-3591b80bc438" providerId="ADAL" clId="{1E215674-DDB3-40FF-B836-35094D8596A4}" dt="2021-04-14T17:31:42.877" v="9015"/>
          <ac:spMkLst>
            <pc:docMk/>
            <pc:sldMk cId="2995402291" sldId="302"/>
            <ac:spMk id="48" creationId="{62DE7CC1-F914-4C06-BACB-C77005E24D92}"/>
          </ac:spMkLst>
        </pc:spChg>
        <pc:spChg chg="del mod">
          <ac:chgData name="PROVENCHERE Sandrine" userId="ad1decff-d2ce-4d29-9d90-3591b80bc438" providerId="ADAL" clId="{1E215674-DDB3-40FF-B836-35094D8596A4}" dt="2021-04-14T17:31:42.940" v="9050"/>
          <ac:spMkLst>
            <pc:docMk/>
            <pc:sldMk cId="2995402291" sldId="302"/>
            <ac:spMk id="49" creationId="{66DB263F-3355-4495-992A-B09AA15DBAC0}"/>
          </ac:spMkLst>
        </pc:spChg>
        <pc:spChg chg="del mod">
          <ac:chgData name="PROVENCHERE Sandrine" userId="ad1decff-d2ce-4d29-9d90-3591b80bc438" providerId="ADAL" clId="{1E215674-DDB3-40FF-B836-35094D8596A4}" dt="2021-04-14T17:31:42.925" v="9041"/>
          <ac:spMkLst>
            <pc:docMk/>
            <pc:sldMk cId="2995402291" sldId="302"/>
            <ac:spMk id="50" creationId="{62A77CD3-BC6A-4EA6-ADD5-BD54F03D42D9}"/>
          </ac:spMkLst>
        </pc:spChg>
        <pc:spChg chg="del mod">
          <ac:chgData name="PROVENCHERE Sandrine" userId="ad1decff-d2ce-4d29-9d90-3591b80bc438" providerId="ADAL" clId="{1E215674-DDB3-40FF-B836-35094D8596A4}" dt="2021-04-14T17:31:42.950" v="9056"/>
          <ac:spMkLst>
            <pc:docMk/>
            <pc:sldMk cId="2995402291" sldId="302"/>
            <ac:spMk id="51" creationId="{9B0AB1E0-8906-4FD1-BB3F-2F25A7EF7BF6}"/>
          </ac:spMkLst>
        </pc:spChg>
        <pc:spChg chg="del mod ord">
          <ac:chgData name="PROVENCHERE Sandrine" userId="ad1decff-d2ce-4d29-9d90-3591b80bc438" providerId="ADAL" clId="{1E215674-DDB3-40FF-B836-35094D8596A4}" dt="2021-04-14T17:31:42.885" v="9020"/>
          <ac:spMkLst>
            <pc:docMk/>
            <pc:sldMk cId="2995402291" sldId="302"/>
            <ac:spMk id="58" creationId="{612293EB-9C08-4F44-B8D4-16AF0878CE95}"/>
          </ac:spMkLst>
        </pc:spChg>
        <pc:spChg chg="del mod">
          <ac:chgData name="PROVENCHERE Sandrine" userId="ad1decff-d2ce-4d29-9d90-3591b80bc438" providerId="ADAL" clId="{1E215674-DDB3-40FF-B836-35094D8596A4}" dt="2021-04-14T17:31:42.891" v="9023"/>
          <ac:spMkLst>
            <pc:docMk/>
            <pc:sldMk cId="2995402291" sldId="302"/>
            <ac:spMk id="59" creationId="{A4CE9BA1-8A3B-4596-9A9C-51FF2C65F88F}"/>
          </ac:spMkLst>
        </pc:spChg>
        <pc:spChg chg="del mod">
          <ac:chgData name="PROVENCHERE Sandrine" userId="ad1decff-d2ce-4d29-9d90-3591b80bc438" providerId="ADAL" clId="{1E215674-DDB3-40FF-B836-35094D8596A4}" dt="2021-04-14T17:31:42.915" v="9035"/>
          <ac:spMkLst>
            <pc:docMk/>
            <pc:sldMk cId="2995402291" sldId="302"/>
            <ac:spMk id="60" creationId="{93ABCA16-CBA8-4FA6-89A3-FE790F773D92}"/>
          </ac:spMkLst>
        </pc:spChg>
        <pc:spChg chg="del mod ord">
          <ac:chgData name="PROVENCHERE Sandrine" userId="ad1decff-d2ce-4d29-9d90-3591b80bc438" providerId="ADAL" clId="{1E215674-DDB3-40FF-B836-35094D8596A4}" dt="2021-04-14T17:31:42.908" v="9031"/>
          <ac:spMkLst>
            <pc:docMk/>
            <pc:sldMk cId="2995402291" sldId="302"/>
            <ac:spMk id="61" creationId="{B2BECFEC-B277-4A44-849A-F9BF0CF03EF9}"/>
          </ac:spMkLst>
        </pc:spChg>
        <pc:spChg chg="del mod">
          <ac:chgData name="PROVENCHERE Sandrine" userId="ad1decff-d2ce-4d29-9d90-3591b80bc438" providerId="ADAL" clId="{1E215674-DDB3-40FF-B836-35094D8596A4}" dt="2021-04-14T17:31:42.993" v="9084"/>
          <ac:spMkLst>
            <pc:docMk/>
            <pc:sldMk cId="2995402291" sldId="302"/>
            <ac:spMk id="62" creationId="{3F1D23E7-6C8D-4234-83C5-60F56FF3870E}"/>
          </ac:spMkLst>
        </pc:spChg>
        <pc:spChg chg="del mod ord">
          <ac:chgData name="PROVENCHERE Sandrine" userId="ad1decff-d2ce-4d29-9d90-3591b80bc438" providerId="ADAL" clId="{1E215674-DDB3-40FF-B836-35094D8596A4}" dt="2021-04-14T17:31:42.894" v="9025"/>
          <ac:spMkLst>
            <pc:docMk/>
            <pc:sldMk cId="2995402291" sldId="302"/>
            <ac:spMk id="63" creationId="{64112369-7438-4CE8-A8AB-AF3A6742D257}"/>
          </ac:spMkLst>
        </pc:spChg>
        <pc:spChg chg="mod ord">
          <ac:chgData name="PROVENCHERE Sandrine" userId="ad1decff-d2ce-4d29-9d90-3591b80bc438" providerId="ADAL" clId="{1E215674-DDB3-40FF-B836-35094D8596A4}" dt="2021-04-14T17:36:53.926" v="9489"/>
          <ac:spMkLst>
            <pc:docMk/>
            <pc:sldMk cId="2995402291" sldId="302"/>
            <ac:spMk id="64" creationId="{9178FCED-3A7C-426B-AA98-4D270384ACFF}"/>
          </ac:spMkLst>
        </pc:spChg>
        <pc:spChg chg="del mod">
          <ac:chgData name="PROVENCHERE Sandrine" userId="ad1decff-d2ce-4d29-9d90-3591b80bc438" providerId="ADAL" clId="{1E215674-DDB3-40FF-B836-35094D8596A4}" dt="2021-04-14T17:31:42.882" v="9018"/>
          <ac:spMkLst>
            <pc:docMk/>
            <pc:sldMk cId="2995402291" sldId="302"/>
            <ac:spMk id="65" creationId="{27496717-FA53-43C5-AE16-016EAE3ED545}"/>
          </ac:spMkLst>
        </pc:spChg>
        <pc:spChg chg="del mod">
          <ac:chgData name="PROVENCHERE Sandrine" userId="ad1decff-d2ce-4d29-9d90-3591b80bc438" providerId="ADAL" clId="{1E215674-DDB3-40FF-B836-35094D8596A4}" dt="2021-04-14T17:31:42.920" v="9038"/>
          <ac:spMkLst>
            <pc:docMk/>
            <pc:sldMk cId="2995402291" sldId="302"/>
            <ac:spMk id="66" creationId="{CFCDF180-715C-4758-A3C9-711F59A6705D}"/>
          </ac:spMkLst>
        </pc:spChg>
        <pc:spChg chg="del mod ord">
          <ac:chgData name="PROVENCHERE Sandrine" userId="ad1decff-d2ce-4d29-9d90-3591b80bc438" providerId="ADAL" clId="{1E215674-DDB3-40FF-B836-35094D8596A4}" dt="2021-04-14T17:31:42.875" v="9014"/>
          <ac:spMkLst>
            <pc:docMk/>
            <pc:sldMk cId="2995402291" sldId="302"/>
            <ac:spMk id="67" creationId="{D0053BE7-DEE8-4E11-AE24-1FFB1D5562AC}"/>
          </ac:spMkLst>
        </pc:spChg>
        <pc:spChg chg="del mod">
          <ac:chgData name="PROVENCHERE Sandrine" userId="ad1decff-d2ce-4d29-9d90-3591b80bc438" providerId="ADAL" clId="{1E215674-DDB3-40FF-B836-35094D8596A4}" dt="2021-04-14T17:31:42.872" v="9012"/>
          <ac:spMkLst>
            <pc:docMk/>
            <pc:sldMk cId="2995402291" sldId="302"/>
            <ac:spMk id="68" creationId="{55F551D8-33D3-446B-9BB1-36F4DACDC09C}"/>
          </ac:spMkLst>
        </pc:spChg>
        <pc:spChg chg="del mod">
          <ac:chgData name="PROVENCHERE Sandrine" userId="ad1decff-d2ce-4d29-9d90-3591b80bc438" providerId="ADAL" clId="{1E215674-DDB3-40FF-B836-35094D8596A4}" dt="2021-04-14T17:31:42.987" v="9078"/>
          <ac:spMkLst>
            <pc:docMk/>
            <pc:sldMk cId="2995402291" sldId="302"/>
            <ac:spMk id="69" creationId="{7AAC714B-E782-4A48-90B4-F8E6FF9D479B}"/>
          </ac:spMkLst>
        </pc:spChg>
        <pc:spChg chg="mod ord topLvl">
          <ac:chgData name="PROVENCHERE Sandrine" userId="ad1decff-d2ce-4d29-9d90-3591b80bc438" providerId="ADAL" clId="{1E215674-DDB3-40FF-B836-35094D8596A4}" dt="2021-04-14T17:36:53.927" v="9491"/>
          <ac:spMkLst>
            <pc:docMk/>
            <pc:sldMk cId="2995402291" sldId="302"/>
            <ac:spMk id="70" creationId="{5D246083-010F-4C9B-9CD8-31978639B100}"/>
          </ac:spMkLst>
        </pc:spChg>
        <pc:spChg chg="del mod">
          <ac:chgData name="PROVENCHERE Sandrine" userId="ad1decff-d2ce-4d29-9d90-3591b80bc438" providerId="ADAL" clId="{1E215674-DDB3-40FF-B836-35094D8596A4}" dt="2021-04-14T17:31:42.980" v="9074"/>
          <ac:spMkLst>
            <pc:docMk/>
            <pc:sldMk cId="2995402291" sldId="302"/>
            <ac:spMk id="71" creationId="{7A687EBE-2F68-4D8D-98FE-CDC7357D25D1}"/>
          </ac:spMkLst>
        </pc:spChg>
        <pc:spChg chg="mod ord topLvl">
          <ac:chgData name="PROVENCHERE Sandrine" userId="ad1decff-d2ce-4d29-9d90-3591b80bc438" providerId="ADAL" clId="{1E215674-DDB3-40FF-B836-35094D8596A4}" dt="2021-04-14T17:48:17.414" v="10022" actId="20577"/>
          <ac:spMkLst>
            <pc:docMk/>
            <pc:sldMk cId="2995402291" sldId="302"/>
            <ac:spMk id="72" creationId="{6FBFF67A-440C-4BF4-909A-C9FBD29357D0}"/>
          </ac:spMkLst>
        </pc:spChg>
        <pc:spChg chg="del mod">
          <ac:chgData name="PROVENCHERE Sandrine" userId="ad1decff-d2ce-4d29-9d90-3591b80bc438" providerId="ADAL" clId="{1E215674-DDB3-40FF-B836-35094D8596A4}" dt="2021-04-14T17:31:42.904" v="9029"/>
          <ac:spMkLst>
            <pc:docMk/>
            <pc:sldMk cId="2995402291" sldId="302"/>
            <ac:spMk id="73" creationId="{A770F905-B98A-4DAE-92CB-A67959466966}"/>
          </ac:spMkLst>
        </pc:spChg>
        <pc:spChg chg="del mod">
          <ac:chgData name="PROVENCHERE Sandrine" userId="ad1decff-d2ce-4d29-9d90-3591b80bc438" providerId="ADAL" clId="{1E215674-DDB3-40FF-B836-35094D8596A4}" dt="2021-04-14T17:31:42.864" v="9008"/>
          <ac:spMkLst>
            <pc:docMk/>
            <pc:sldMk cId="2995402291" sldId="302"/>
            <ac:spMk id="74" creationId="{4007A31A-0CA4-4B10-AA92-0E27FCE05705}"/>
          </ac:spMkLst>
        </pc:spChg>
        <pc:spChg chg="del mod">
          <ac:chgData name="PROVENCHERE Sandrine" userId="ad1decff-d2ce-4d29-9d90-3591b80bc438" providerId="ADAL" clId="{1E215674-DDB3-40FF-B836-35094D8596A4}" dt="2021-04-14T17:31:42.971" v="9069"/>
          <ac:spMkLst>
            <pc:docMk/>
            <pc:sldMk cId="2995402291" sldId="302"/>
            <ac:spMk id="75" creationId="{DBD921FB-9228-47C5-9973-92B8A8CA0020}"/>
          </ac:spMkLst>
        </pc:spChg>
        <pc:spChg chg="del mod">
          <ac:chgData name="PROVENCHERE Sandrine" userId="ad1decff-d2ce-4d29-9d90-3591b80bc438" providerId="ADAL" clId="{1E215674-DDB3-40FF-B836-35094D8596A4}" dt="2021-04-14T17:31:42.955" v="9059"/>
          <ac:spMkLst>
            <pc:docMk/>
            <pc:sldMk cId="2995402291" sldId="302"/>
            <ac:spMk id="76" creationId="{EFB16EDA-15A8-40C1-9556-49DCEBFE0BD4}"/>
          </ac:spMkLst>
        </pc:spChg>
        <pc:spChg chg="del mod">
          <ac:chgData name="PROVENCHERE Sandrine" userId="ad1decff-d2ce-4d29-9d90-3591b80bc438" providerId="ADAL" clId="{1E215674-DDB3-40FF-B836-35094D8596A4}" dt="2021-04-14T17:31:42.913" v="9034"/>
          <ac:spMkLst>
            <pc:docMk/>
            <pc:sldMk cId="2995402291" sldId="302"/>
            <ac:spMk id="77" creationId="{E7ED2744-2410-4592-92B6-DC7836DB3A0D}"/>
          </ac:spMkLst>
        </pc:spChg>
        <pc:spChg chg="del mod ord">
          <ac:chgData name="PROVENCHERE Sandrine" userId="ad1decff-d2ce-4d29-9d90-3591b80bc438" providerId="ADAL" clId="{1E215674-DDB3-40FF-B836-35094D8596A4}" dt="2021-04-14T17:31:42.988" v="9080"/>
          <ac:spMkLst>
            <pc:docMk/>
            <pc:sldMk cId="2995402291" sldId="302"/>
            <ac:spMk id="78" creationId="{4BF7F50A-EE3E-4A80-98B5-2B793238FC6B}"/>
          </ac:spMkLst>
        </pc:spChg>
        <pc:spChg chg="del mod">
          <ac:chgData name="PROVENCHERE Sandrine" userId="ad1decff-d2ce-4d29-9d90-3591b80bc438" providerId="ADAL" clId="{1E215674-DDB3-40FF-B836-35094D8596A4}" dt="2021-04-14T17:31:42.982" v="9075"/>
          <ac:spMkLst>
            <pc:docMk/>
            <pc:sldMk cId="2995402291" sldId="302"/>
            <ac:spMk id="79" creationId="{A0CD3FD2-C8BE-4AE2-AF5C-0731CD50A9C2}"/>
          </ac:spMkLst>
        </pc:spChg>
        <pc:spChg chg="del mod ord">
          <ac:chgData name="PROVENCHERE Sandrine" userId="ad1decff-d2ce-4d29-9d90-3591b80bc438" providerId="ADAL" clId="{1E215674-DDB3-40FF-B836-35094D8596A4}" dt="2021-04-14T17:31:42.974" v="9071"/>
          <ac:spMkLst>
            <pc:docMk/>
            <pc:sldMk cId="2995402291" sldId="302"/>
            <ac:spMk id="80" creationId="{5C99F510-AE52-4C9C-A9C1-6D85EFED23B7}"/>
          </ac:spMkLst>
        </pc:spChg>
        <pc:spChg chg="del mod ord">
          <ac:chgData name="PROVENCHERE Sandrine" userId="ad1decff-d2ce-4d29-9d90-3591b80bc438" providerId="ADAL" clId="{1E215674-DDB3-40FF-B836-35094D8596A4}" dt="2021-04-14T17:31:42.965" v="9066"/>
          <ac:spMkLst>
            <pc:docMk/>
            <pc:sldMk cId="2995402291" sldId="302"/>
            <ac:spMk id="81" creationId="{E1019F51-FB4B-4767-8EF2-78564BEE4212}"/>
          </ac:spMkLst>
        </pc:spChg>
        <pc:spChg chg="del mod ord">
          <ac:chgData name="PROVENCHERE Sandrine" userId="ad1decff-d2ce-4d29-9d90-3591b80bc438" providerId="ADAL" clId="{1E215674-DDB3-40FF-B836-35094D8596A4}" dt="2021-04-14T17:31:42.957" v="9061"/>
          <ac:spMkLst>
            <pc:docMk/>
            <pc:sldMk cId="2995402291" sldId="302"/>
            <ac:spMk id="82" creationId="{704040AD-F2D4-4D1E-B772-35747F1AE924}"/>
          </ac:spMkLst>
        </pc:spChg>
        <pc:spChg chg="del mod ord">
          <ac:chgData name="PROVENCHERE Sandrine" userId="ad1decff-d2ce-4d29-9d90-3591b80bc438" providerId="ADAL" clId="{1E215674-DDB3-40FF-B836-35094D8596A4}" dt="2021-04-14T17:31:42.948" v="9055"/>
          <ac:spMkLst>
            <pc:docMk/>
            <pc:sldMk cId="2995402291" sldId="302"/>
            <ac:spMk id="83" creationId="{98FCCA0B-B651-4826-92EC-005BF772A6BB}"/>
          </ac:spMkLst>
        </pc:spChg>
        <pc:spChg chg="del mod">
          <ac:chgData name="PROVENCHERE Sandrine" userId="ad1decff-d2ce-4d29-9d90-3591b80bc438" providerId="ADAL" clId="{1E215674-DDB3-40FF-B836-35094D8596A4}" dt="2021-04-14T17:31:42.994" v="9085"/>
          <ac:spMkLst>
            <pc:docMk/>
            <pc:sldMk cId="2995402291" sldId="302"/>
            <ac:spMk id="84" creationId="{7E51FC71-C9DB-41D0-A486-908760F12CA6}"/>
          </ac:spMkLst>
        </pc:spChg>
        <pc:spChg chg="del mod">
          <ac:chgData name="PROVENCHERE Sandrine" userId="ad1decff-d2ce-4d29-9d90-3591b80bc438" providerId="ADAL" clId="{1E215674-DDB3-40FF-B836-35094D8596A4}" dt="2021-04-14T17:31:42.935" v="9047"/>
          <ac:spMkLst>
            <pc:docMk/>
            <pc:sldMk cId="2995402291" sldId="302"/>
            <ac:spMk id="85" creationId="{8E7005E8-D3E8-430B-81D3-B3688925AE4A}"/>
          </ac:spMkLst>
        </pc:spChg>
        <pc:spChg chg="del mod">
          <ac:chgData name="PROVENCHERE Sandrine" userId="ad1decff-d2ce-4d29-9d90-3591b80bc438" providerId="ADAL" clId="{1E215674-DDB3-40FF-B836-35094D8596A4}" dt="2021-04-14T17:31:42.858" v="9005"/>
          <ac:spMkLst>
            <pc:docMk/>
            <pc:sldMk cId="2995402291" sldId="302"/>
            <ac:spMk id="86" creationId="{C44890D3-D5A8-4AAD-946F-1BED548D8C0A}"/>
          </ac:spMkLst>
        </pc:spChg>
        <pc:spChg chg="del mod">
          <ac:chgData name="PROVENCHERE Sandrine" userId="ad1decff-d2ce-4d29-9d90-3591b80bc438" providerId="ADAL" clId="{1E215674-DDB3-40FF-B836-35094D8596A4}" dt="2021-04-14T17:31:42.963" v="9064"/>
          <ac:spMkLst>
            <pc:docMk/>
            <pc:sldMk cId="2995402291" sldId="302"/>
            <ac:spMk id="87" creationId="{7012491C-A61C-4678-B9F7-8DCA5EE4B6A9}"/>
          </ac:spMkLst>
        </pc:spChg>
        <pc:spChg chg="del mod ord">
          <ac:chgData name="PROVENCHERE Sandrine" userId="ad1decff-d2ce-4d29-9d90-3591b80bc438" providerId="ADAL" clId="{1E215674-DDB3-40FF-B836-35094D8596A4}" dt="2021-04-14T17:31:42.923" v="9040"/>
          <ac:spMkLst>
            <pc:docMk/>
            <pc:sldMk cId="2995402291" sldId="302"/>
            <ac:spMk id="88" creationId="{FDAD43F4-98DC-4A4E-A9DF-8283571F5625}"/>
          </ac:spMkLst>
        </pc:spChg>
        <pc:spChg chg="del mod">
          <ac:chgData name="PROVENCHERE Sandrine" userId="ad1decff-d2ce-4d29-9d90-3591b80bc438" providerId="ADAL" clId="{1E215674-DDB3-40FF-B836-35094D8596A4}" dt="2021-04-14T17:31:42.945" v="9053"/>
          <ac:spMkLst>
            <pc:docMk/>
            <pc:sldMk cId="2995402291" sldId="302"/>
            <ac:spMk id="89" creationId="{85B976B4-18AF-4F25-B9B7-59DDE78F3A59}"/>
          </ac:spMkLst>
        </pc:spChg>
        <pc:spChg chg="del mod">
          <ac:chgData name="PROVENCHERE Sandrine" userId="ad1decff-d2ce-4d29-9d90-3591b80bc438" providerId="ADAL" clId="{1E215674-DDB3-40FF-B836-35094D8596A4}" dt="2021-04-14T17:31:42.930" v="9044"/>
          <ac:spMkLst>
            <pc:docMk/>
            <pc:sldMk cId="2995402291" sldId="302"/>
            <ac:spMk id="90" creationId="{F94F4A98-B512-4CA1-A19B-3146FA264927}"/>
          </ac:spMkLst>
        </pc:spChg>
        <pc:spChg chg="del mod ord">
          <ac:chgData name="PROVENCHERE Sandrine" userId="ad1decff-d2ce-4d29-9d90-3591b80bc438" providerId="ADAL" clId="{1E215674-DDB3-40FF-B836-35094D8596A4}" dt="2021-04-14T17:31:42.938" v="9049"/>
          <ac:spMkLst>
            <pc:docMk/>
            <pc:sldMk cId="2995402291" sldId="302"/>
            <ac:spMk id="91" creationId="{A951E3A2-B207-40AD-B9D0-A6BA758D2186}"/>
          </ac:spMkLst>
        </pc:spChg>
        <pc:spChg chg="mod ord">
          <ac:chgData name="PROVENCHERE Sandrine" userId="ad1decff-d2ce-4d29-9d90-3591b80bc438" providerId="ADAL" clId="{1E215674-DDB3-40FF-B836-35094D8596A4}" dt="2021-04-14T17:36:53.939" v="9515"/>
          <ac:spMkLst>
            <pc:docMk/>
            <pc:sldMk cId="2995402291" sldId="302"/>
            <ac:spMk id="92" creationId="{64114A14-DD21-4B7F-A7D8-A1E595EE094B}"/>
          </ac:spMkLst>
        </pc:spChg>
        <pc:spChg chg="mod ord">
          <ac:chgData name="PROVENCHERE Sandrine" userId="ad1decff-d2ce-4d29-9d90-3591b80bc438" providerId="ADAL" clId="{1E215674-DDB3-40FF-B836-35094D8596A4}" dt="2021-04-14T17:36:53.930" v="9497"/>
          <ac:spMkLst>
            <pc:docMk/>
            <pc:sldMk cId="2995402291" sldId="302"/>
            <ac:spMk id="93" creationId="{5926F622-9C71-4197-AC8E-C94300BA25E0}"/>
          </ac:spMkLst>
        </pc:spChg>
        <pc:spChg chg="del mod ord">
          <ac:chgData name="PROVENCHERE Sandrine" userId="ad1decff-d2ce-4d29-9d90-3591b80bc438" providerId="ADAL" clId="{1E215674-DDB3-40FF-B836-35094D8596A4}" dt="2021-04-14T17:31:50.685" v="9092" actId="478"/>
          <ac:spMkLst>
            <pc:docMk/>
            <pc:sldMk cId="2995402291" sldId="302"/>
            <ac:spMk id="94" creationId="{375BACC6-A5EB-4FF4-97F2-7C083F0FAB89}"/>
          </ac:spMkLst>
        </pc:spChg>
        <pc:spChg chg="del mod ord">
          <ac:chgData name="PROVENCHERE Sandrine" userId="ad1decff-d2ce-4d29-9d90-3591b80bc438" providerId="ADAL" clId="{1E215674-DDB3-40FF-B836-35094D8596A4}" dt="2021-04-14T17:31:49.572" v="9091" actId="478"/>
          <ac:spMkLst>
            <pc:docMk/>
            <pc:sldMk cId="2995402291" sldId="302"/>
            <ac:spMk id="95" creationId="{D5EF1ADE-2D63-41A6-8F04-6DE2A9497D64}"/>
          </ac:spMkLst>
        </pc:spChg>
        <pc:spChg chg="del mod ord">
          <ac:chgData name="PROVENCHERE Sandrine" userId="ad1decff-d2ce-4d29-9d90-3591b80bc438" providerId="ADAL" clId="{1E215674-DDB3-40FF-B836-35094D8596A4}" dt="2021-04-14T17:31:46.839" v="9090" actId="478"/>
          <ac:spMkLst>
            <pc:docMk/>
            <pc:sldMk cId="2995402291" sldId="302"/>
            <ac:spMk id="96" creationId="{DD6C0358-9ADC-485A-B2DB-E89615023E9C}"/>
          </ac:spMkLst>
        </pc:spChg>
        <pc:spChg chg="add mod ord">
          <ac:chgData name="PROVENCHERE Sandrine" userId="ad1decff-d2ce-4d29-9d90-3591b80bc438" providerId="ADAL" clId="{1E215674-DDB3-40FF-B836-35094D8596A4}" dt="2021-04-14T17:36:53.941" v="9519"/>
          <ac:spMkLst>
            <pc:docMk/>
            <pc:sldMk cId="2995402291" sldId="302"/>
            <ac:spMk id="98" creationId="{36B65000-BE90-4DC0-B063-1E0C6DC8E64A}"/>
          </ac:spMkLst>
        </pc:spChg>
        <pc:spChg chg="mod ord topLvl">
          <ac:chgData name="PROVENCHERE Sandrine" userId="ad1decff-d2ce-4d29-9d90-3591b80bc438" providerId="ADAL" clId="{1E215674-DDB3-40FF-B836-35094D8596A4}" dt="2021-04-14T17:36:53.942" v="9521"/>
          <ac:spMkLst>
            <pc:docMk/>
            <pc:sldMk cId="2995402291" sldId="302"/>
            <ac:spMk id="100" creationId="{D6037D18-8E6A-4999-B3CD-D6696E7C8D29}"/>
          </ac:spMkLst>
        </pc:spChg>
        <pc:spChg chg="del mod topLvl">
          <ac:chgData name="PROVENCHERE Sandrine" userId="ad1decff-d2ce-4d29-9d90-3591b80bc438" providerId="ADAL" clId="{1E215674-DDB3-40FF-B836-35094D8596A4}" dt="2021-04-14T17:35:47.477" v="9215" actId="478"/>
          <ac:spMkLst>
            <pc:docMk/>
            <pc:sldMk cId="2995402291" sldId="302"/>
            <ac:spMk id="101" creationId="{B920AAB8-D80F-43C0-A871-5434AB081E10}"/>
          </ac:spMkLst>
        </pc:spChg>
        <pc:spChg chg="add mod ord">
          <ac:chgData name="PROVENCHERE Sandrine" userId="ad1decff-d2ce-4d29-9d90-3591b80bc438" providerId="ADAL" clId="{1E215674-DDB3-40FF-B836-35094D8596A4}" dt="2021-04-14T19:28:26.947" v="11639" actId="20577"/>
          <ac:spMkLst>
            <pc:docMk/>
            <pc:sldMk cId="2995402291" sldId="302"/>
            <ac:spMk id="102" creationId="{C109BD84-4ECE-41E7-A595-53FBB9E269E4}"/>
          </ac:spMkLst>
        </pc:spChg>
        <pc:spChg chg="add mod ord">
          <ac:chgData name="PROVENCHERE Sandrine" userId="ad1decff-d2ce-4d29-9d90-3591b80bc438" providerId="ADAL" clId="{1E215674-DDB3-40FF-B836-35094D8596A4}" dt="2021-04-14T17:36:53.944" v="9525"/>
          <ac:spMkLst>
            <pc:docMk/>
            <pc:sldMk cId="2995402291" sldId="302"/>
            <ac:spMk id="103" creationId="{2DFFD46C-FFA4-47CB-9E16-BB7EFFAE0DEF}"/>
          </ac:spMkLst>
        </pc:spChg>
        <pc:spChg chg="mod ord">
          <ac:chgData name="PROVENCHERE Sandrine" userId="ad1decff-d2ce-4d29-9d90-3591b80bc438" providerId="ADAL" clId="{1E215674-DDB3-40FF-B836-35094D8596A4}" dt="2021-04-14T17:36:53.920" v="9477"/>
          <ac:spMkLst>
            <pc:docMk/>
            <pc:sldMk cId="2995402291" sldId="302"/>
            <ac:spMk id="105" creationId="{CACBE0A4-49BF-44E3-8C80-6468118A5003}"/>
          </ac:spMkLst>
        </pc:spChg>
        <pc:spChg chg="mod ord">
          <ac:chgData name="PROVENCHERE Sandrine" userId="ad1decff-d2ce-4d29-9d90-3591b80bc438" providerId="ADAL" clId="{1E215674-DDB3-40FF-B836-35094D8596A4}" dt="2021-04-14T17:47:06.596" v="9958" actId="20577"/>
          <ac:spMkLst>
            <pc:docMk/>
            <pc:sldMk cId="2995402291" sldId="302"/>
            <ac:spMk id="106" creationId="{5C23025C-ABF2-4F91-95FF-0E90933945D8}"/>
          </ac:spMkLst>
        </pc:spChg>
        <pc:spChg chg="add mod">
          <ac:chgData name="PROVENCHERE Sandrine" userId="ad1decff-d2ce-4d29-9d90-3591b80bc438" providerId="ADAL" clId="{1E215674-DDB3-40FF-B836-35094D8596A4}" dt="2021-04-14T17:38:53.346" v="9615" actId="113"/>
          <ac:spMkLst>
            <pc:docMk/>
            <pc:sldMk cId="2995402291" sldId="302"/>
            <ac:spMk id="107" creationId="{910D5080-1565-4355-8554-B1CA241378BA}"/>
          </ac:spMkLst>
        </pc:spChg>
        <pc:spChg chg="add mod">
          <ac:chgData name="PROVENCHERE Sandrine" userId="ad1decff-d2ce-4d29-9d90-3591b80bc438" providerId="ADAL" clId="{1E215674-DDB3-40FF-B836-35094D8596A4}" dt="2021-04-14T17:44:25.761" v="9755" actId="404"/>
          <ac:spMkLst>
            <pc:docMk/>
            <pc:sldMk cId="2995402291" sldId="302"/>
            <ac:spMk id="115" creationId="{25890D2B-A7D3-442B-93E9-27F53F8203DE}"/>
          </ac:spMkLst>
        </pc:spChg>
        <pc:spChg chg="add mod">
          <ac:chgData name="PROVENCHERE Sandrine" userId="ad1decff-d2ce-4d29-9d90-3591b80bc438" providerId="ADAL" clId="{1E215674-DDB3-40FF-B836-35094D8596A4}" dt="2021-04-14T17:44:25.761" v="9755" actId="404"/>
          <ac:spMkLst>
            <pc:docMk/>
            <pc:sldMk cId="2995402291" sldId="302"/>
            <ac:spMk id="116" creationId="{C436F218-BEA1-486F-B112-861579B802A5}"/>
          </ac:spMkLst>
        </pc:spChg>
        <pc:spChg chg="del mod ord">
          <ac:chgData name="PROVENCHERE Sandrine" userId="ad1decff-d2ce-4d29-9d90-3591b80bc438" providerId="ADAL" clId="{1E215674-DDB3-40FF-B836-35094D8596A4}" dt="2021-04-14T17:35:13.692" v="9120" actId="478"/>
          <ac:spMkLst>
            <pc:docMk/>
            <pc:sldMk cId="2995402291" sldId="302"/>
            <ac:spMk id="119" creationId="{CDD29A6F-9338-4A24-B313-84F84F1F9AA8}"/>
          </ac:spMkLst>
        </pc:spChg>
        <pc:spChg chg="del mod ord">
          <ac:chgData name="PROVENCHERE Sandrine" userId="ad1decff-d2ce-4d29-9d90-3591b80bc438" providerId="ADAL" clId="{1E215674-DDB3-40FF-B836-35094D8596A4}" dt="2021-04-14T17:36:08.440" v="9222" actId="478"/>
          <ac:spMkLst>
            <pc:docMk/>
            <pc:sldMk cId="2995402291" sldId="302"/>
            <ac:spMk id="120" creationId="{65AF5890-029F-4C9F-AC16-5792288B5B5D}"/>
          </ac:spMkLst>
        </pc:spChg>
        <pc:spChg chg="add mod">
          <ac:chgData name="PROVENCHERE Sandrine" userId="ad1decff-d2ce-4d29-9d90-3591b80bc438" providerId="ADAL" clId="{1E215674-DDB3-40FF-B836-35094D8596A4}" dt="2021-04-14T19:29:03.730" v="11646" actId="12789"/>
          <ac:spMkLst>
            <pc:docMk/>
            <pc:sldMk cId="2995402291" sldId="302"/>
            <ac:spMk id="121" creationId="{CF6FD9A7-F4F8-4EAA-9723-23B26D03E5D6}"/>
          </ac:spMkLst>
        </pc:spChg>
        <pc:spChg chg="add mod">
          <ac:chgData name="PROVENCHERE Sandrine" userId="ad1decff-d2ce-4d29-9d90-3591b80bc438" providerId="ADAL" clId="{1E215674-DDB3-40FF-B836-35094D8596A4}" dt="2021-04-14T19:29:03.730" v="11646" actId="12789"/>
          <ac:spMkLst>
            <pc:docMk/>
            <pc:sldMk cId="2995402291" sldId="302"/>
            <ac:spMk id="122" creationId="{27321596-2308-40B7-9AB8-B4B01299F9B2}"/>
          </ac:spMkLst>
        </pc:spChg>
        <pc:spChg chg="mod ord">
          <ac:chgData name="PROVENCHERE Sandrine" userId="ad1decff-d2ce-4d29-9d90-3591b80bc438" providerId="ADAL" clId="{1E215674-DDB3-40FF-B836-35094D8596A4}" dt="2021-04-14T17:36:53.933" v="9503"/>
          <ac:spMkLst>
            <pc:docMk/>
            <pc:sldMk cId="2995402291" sldId="302"/>
            <ac:spMk id="240" creationId="{4BFD82B9-2B97-400C-8DA4-4E07A801D006}"/>
          </ac:spMkLst>
        </pc:spChg>
        <pc:spChg chg="mod ord">
          <ac:chgData name="PROVENCHERE Sandrine" userId="ad1decff-d2ce-4d29-9d90-3591b80bc438" providerId="ADAL" clId="{1E215674-DDB3-40FF-B836-35094D8596A4}" dt="2021-04-14T17:36:53.936" v="9509"/>
          <ac:spMkLst>
            <pc:docMk/>
            <pc:sldMk cId="2995402291" sldId="302"/>
            <ac:spMk id="253" creationId="{5B7BEAA7-762F-4520-BAD8-1384991C01A8}"/>
          </ac:spMkLst>
        </pc:spChg>
        <pc:spChg chg="mod ord">
          <ac:chgData name="PROVENCHERE Sandrine" userId="ad1decff-d2ce-4d29-9d90-3591b80bc438" providerId="ADAL" clId="{1E215674-DDB3-40FF-B836-35094D8596A4}" dt="2021-04-14T17:36:53.931" v="9499"/>
          <ac:spMkLst>
            <pc:docMk/>
            <pc:sldMk cId="2995402291" sldId="302"/>
            <ac:spMk id="290" creationId="{63663CCE-F698-4769-A5BD-BAF749BF3F4B}"/>
          </ac:spMkLst>
        </pc:spChg>
        <pc:spChg chg="mod ord">
          <ac:chgData name="PROVENCHERE Sandrine" userId="ad1decff-d2ce-4d29-9d90-3591b80bc438" providerId="ADAL" clId="{1E215674-DDB3-40FF-B836-35094D8596A4}" dt="2021-04-14T17:36:53.932" v="9501"/>
          <ac:spMkLst>
            <pc:docMk/>
            <pc:sldMk cId="2995402291" sldId="302"/>
            <ac:spMk id="295" creationId="{8CB4C2FD-367C-4879-8586-35DF1CE6DBB3}"/>
          </ac:spMkLst>
        </pc:spChg>
        <pc:grpChg chg="del mod ord">
          <ac:chgData name="PROVENCHERE Sandrine" userId="ad1decff-d2ce-4d29-9d90-3591b80bc438" providerId="ADAL" clId="{1E215674-DDB3-40FF-B836-35094D8596A4}" dt="2021-04-14T17:36:11.961" v="9223" actId="165"/>
          <ac:grpSpMkLst>
            <pc:docMk/>
            <pc:sldMk cId="2995402291" sldId="302"/>
            <ac:grpSpMk id="24" creationId="{12A89192-B3A3-4D24-8820-EEBEDACA3E91}"/>
          </ac:grpSpMkLst>
        </pc:grpChg>
        <pc:grpChg chg="add del mod ord">
          <ac:chgData name="PROVENCHERE Sandrine" userId="ad1decff-d2ce-4d29-9d90-3591b80bc438" providerId="ADAL" clId="{1E215674-DDB3-40FF-B836-35094D8596A4}" dt="2021-04-14T17:35:42.479" v="9214" actId="165"/>
          <ac:grpSpMkLst>
            <pc:docMk/>
            <pc:sldMk cId="2995402291" sldId="302"/>
            <ac:grpSpMk id="99" creationId="{0669706A-0C46-4335-BFAC-B37B72B56CCB}"/>
          </ac:grpSpMkLst>
        </pc:grpChg>
        <pc:graphicFrameChg chg="mod ord">
          <ac:chgData name="PROVENCHERE Sandrine" userId="ad1decff-d2ce-4d29-9d90-3591b80bc438" providerId="ADAL" clId="{1E215674-DDB3-40FF-B836-35094D8596A4}" dt="2021-04-14T17:36:53.952" v="9533"/>
          <ac:graphicFrameMkLst>
            <pc:docMk/>
            <pc:sldMk cId="2995402291" sldId="302"/>
            <ac:graphicFrameMk id="31" creationId="{CF982A77-D6AC-4875-925C-A532A98C6114}"/>
          </ac:graphicFrameMkLst>
        </pc:graphicFrameChg>
        <pc:graphicFrameChg chg="del mod">
          <ac:chgData name="PROVENCHERE Sandrine" userId="ad1decff-d2ce-4d29-9d90-3591b80bc438" providerId="ADAL" clId="{1E215674-DDB3-40FF-B836-35094D8596A4}" dt="2021-04-14T17:31:42.999" v="9086"/>
          <ac:graphicFrameMkLst>
            <pc:docMk/>
            <pc:sldMk cId="2995402291" sldId="302"/>
            <ac:graphicFrameMk id="109" creationId="{3A0CBC14-51C6-42E0-A3FC-2C7B38640D8D}"/>
          </ac:graphicFrameMkLst>
        </pc:graphicFrameChg>
        <pc:picChg chg="del">
          <ac:chgData name="PROVENCHERE Sandrine" userId="ad1decff-d2ce-4d29-9d90-3591b80bc438" providerId="ADAL" clId="{1E215674-DDB3-40FF-B836-35094D8596A4}" dt="2021-04-14T17:28:09.011" v="8848" actId="478"/>
          <ac:picMkLst>
            <pc:docMk/>
            <pc:sldMk cId="2995402291" sldId="302"/>
            <ac:picMk id="4" creationId="{3F51C0DE-F973-4004-851C-D1D14B591D37}"/>
          </ac:picMkLst>
        </pc:picChg>
        <pc:picChg chg="del">
          <ac:chgData name="PROVENCHERE Sandrine" userId="ad1decff-d2ce-4d29-9d90-3591b80bc438" providerId="ADAL" clId="{1E215674-DDB3-40FF-B836-35094D8596A4}" dt="2021-04-14T17:28:46.357" v="8853" actId="478"/>
          <ac:picMkLst>
            <pc:docMk/>
            <pc:sldMk cId="2995402291" sldId="302"/>
            <ac:picMk id="8" creationId="{D5A1A393-3D52-400C-B72B-49D3BBFC9F4E}"/>
          </ac:picMkLst>
        </pc:picChg>
        <pc:picChg chg="del mod ord">
          <ac:chgData name="PROVENCHERE Sandrine" userId="ad1decff-d2ce-4d29-9d90-3591b80bc438" providerId="ADAL" clId="{1E215674-DDB3-40FF-B836-35094D8596A4}" dt="2021-04-14T17:34:12.434" v="9109" actId="478"/>
          <ac:picMkLst>
            <pc:docMk/>
            <pc:sldMk cId="2995402291" sldId="302"/>
            <ac:picMk id="10" creationId="{0A30421B-9011-4C4B-B5B0-D0AB060D0B5A}"/>
          </ac:picMkLst>
        </pc:picChg>
        <pc:picChg chg="add mod ord">
          <ac:chgData name="PROVENCHERE Sandrine" userId="ad1decff-d2ce-4d29-9d90-3591b80bc438" providerId="ADAL" clId="{1E215674-DDB3-40FF-B836-35094D8596A4}" dt="2021-04-14T17:36:53.937" v="9511"/>
          <ac:picMkLst>
            <pc:docMk/>
            <pc:sldMk cId="2995402291" sldId="302"/>
            <ac:picMk id="16" creationId="{ED060875-6636-47DE-9497-BD6D97DEE225}"/>
          </ac:picMkLst>
        </pc:picChg>
        <pc:picChg chg="add mod ord">
          <ac:chgData name="PROVENCHERE Sandrine" userId="ad1decff-d2ce-4d29-9d90-3591b80bc438" providerId="ADAL" clId="{1E215674-DDB3-40FF-B836-35094D8596A4}" dt="2021-04-14T17:36:53.938" v="9513"/>
          <ac:picMkLst>
            <pc:docMk/>
            <pc:sldMk cId="2995402291" sldId="302"/>
            <ac:picMk id="17" creationId="{CF01A1BA-A520-4A08-BC84-CD8B8FEAC44E}"/>
          </ac:picMkLst>
        </pc:picChg>
        <pc:picChg chg="add mod ord modCrop">
          <ac:chgData name="PROVENCHERE Sandrine" userId="ad1decff-d2ce-4d29-9d90-3591b80bc438" providerId="ADAL" clId="{1E215674-DDB3-40FF-B836-35094D8596A4}" dt="2021-04-14T17:37:01.150" v="9534" actId="1076"/>
          <ac:picMkLst>
            <pc:docMk/>
            <pc:sldMk cId="2995402291" sldId="302"/>
            <ac:picMk id="18" creationId="{D5323905-2CDE-40BE-9F76-189DABBD1A54}"/>
          </ac:picMkLst>
        </pc:picChg>
        <pc:picChg chg="add mod ord modCrop">
          <ac:chgData name="PROVENCHERE Sandrine" userId="ad1decff-d2ce-4d29-9d90-3591b80bc438" providerId="ADAL" clId="{1E215674-DDB3-40FF-B836-35094D8596A4}" dt="2021-04-14T17:45:52.888" v="9883" actId="1076"/>
          <ac:picMkLst>
            <pc:docMk/>
            <pc:sldMk cId="2995402291" sldId="302"/>
            <ac:picMk id="19" creationId="{13EC5B14-4751-425E-B856-8B4CC7621C71}"/>
          </ac:picMkLst>
        </pc:picChg>
        <pc:picChg chg="add mod">
          <ac:chgData name="PROVENCHERE Sandrine" userId="ad1decff-d2ce-4d29-9d90-3591b80bc438" providerId="ADAL" clId="{1E215674-DDB3-40FF-B836-35094D8596A4}" dt="2021-04-14T17:39:18.838" v="9620" actId="14100"/>
          <ac:picMkLst>
            <pc:docMk/>
            <pc:sldMk cId="2995402291" sldId="302"/>
            <ac:picMk id="22" creationId="{B9394501-9C2E-4385-90BF-9F3183831195}"/>
          </ac:picMkLst>
        </pc:picChg>
        <pc:picChg chg="add mod ord modCrop">
          <ac:chgData name="PROVENCHERE Sandrine" userId="ad1decff-d2ce-4d29-9d90-3591b80bc438" providerId="ADAL" clId="{1E215674-DDB3-40FF-B836-35094D8596A4}" dt="2021-04-14T17:39:45.573" v="9627" actId="14100"/>
          <ac:picMkLst>
            <pc:docMk/>
            <pc:sldMk cId="2995402291" sldId="302"/>
            <ac:picMk id="97" creationId="{48C40265-097C-4437-B9D8-87F15D65189B}"/>
          </ac:picMkLst>
        </pc:picChg>
        <pc:picChg chg="mod ord">
          <ac:chgData name="PROVENCHERE Sandrine" userId="ad1decff-d2ce-4d29-9d90-3591b80bc438" providerId="ADAL" clId="{1E215674-DDB3-40FF-B836-35094D8596A4}" dt="2021-04-14T17:43:43.900" v="9735" actId="1076"/>
          <ac:picMkLst>
            <pc:docMk/>
            <pc:sldMk cId="2995402291" sldId="302"/>
            <ac:picMk id="104" creationId="{66215C4C-F251-4190-B785-4C69A17BD2ED}"/>
          </ac:picMkLst>
        </pc:picChg>
        <pc:picChg chg="mod ord">
          <ac:chgData name="PROVENCHERE Sandrine" userId="ad1decff-d2ce-4d29-9d90-3591b80bc438" providerId="ADAL" clId="{1E215674-DDB3-40FF-B836-35094D8596A4}" dt="2021-04-14T17:36:53.925" v="9487"/>
          <ac:picMkLst>
            <pc:docMk/>
            <pc:sldMk cId="2995402291" sldId="302"/>
            <ac:picMk id="164" creationId="{FFB04B5B-5CAF-4185-B796-63B230BDDF04}"/>
          </ac:picMkLst>
        </pc:picChg>
        <pc:cxnChg chg="add mod">
          <ac:chgData name="PROVENCHERE Sandrine" userId="ad1decff-d2ce-4d29-9d90-3591b80bc438" providerId="ADAL" clId="{1E215674-DDB3-40FF-B836-35094D8596A4}" dt="2021-04-14T17:42:56.150" v="9652" actId="208"/>
          <ac:cxnSpMkLst>
            <pc:docMk/>
            <pc:sldMk cId="2995402291" sldId="302"/>
            <ac:cxnSpMk id="26" creationId="{C2A910B8-F5CB-40E9-9E79-6548EBD9A736}"/>
          </ac:cxnSpMkLst>
        </pc:cxnChg>
        <pc:cxnChg chg="del mod ord">
          <ac:chgData name="PROVENCHERE Sandrine" userId="ad1decff-d2ce-4d29-9d90-3591b80bc438" providerId="ADAL" clId="{1E215674-DDB3-40FF-B836-35094D8596A4}" dt="2021-04-14T17:31:42.985" v="9077"/>
          <ac:cxnSpMkLst>
            <pc:docMk/>
            <pc:sldMk cId="2995402291" sldId="302"/>
            <ac:cxnSpMk id="32" creationId="{78D9532C-4CB8-484F-8BEA-8033304CC69C}"/>
          </ac:cxnSpMkLst>
        </pc:cxnChg>
        <pc:cxnChg chg="del mod ord">
          <ac:chgData name="PROVENCHERE Sandrine" userId="ad1decff-d2ce-4d29-9d90-3591b80bc438" providerId="ADAL" clId="{1E215674-DDB3-40FF-B836-35094D8596A4}" dt="2021-04-14T17:31:42.901" v="9028"/>
          <ac:cxnSpMkLst>
            <pc:docMk/>
            <pc:sldMk cId="2995402291" sldId="302"/>
            <ac:cxnSpMk id="33" creationId="{3A0DB442-A067-4C27-A71A-21BF5C243056}"/>
          </ac:cxnSpMkLst>
        </pc:cxnChg>
        <pc:cxnChg chg="del mod ord">
          <ac:chgData name="PROVENCHERE Sandrine" userId="ad1decff-d2ce-4d29-9d90-3591b80bc438" providerId="ADAL" clId="{1E215674-DDB3-40FF-B836-35094D8596A4}" dt="2021-04-14T17:31:42.953" v="9058"/>
          <ac:cxnSpMkLst>
            <pc:docMk/>
            <pc:sldMk cId="2995402291" sldId="302"/>
            <ac:cxnSpMk id="34" creationId="{16213085-F102-4DCA-8072-BFF0428AC9AF}"/>
          </ac:cxnSpMkLst>
        </pc:cxnChg>
        <pc:cxnChg chg="del mod ord">
          <ac:chgData name="PROVENCHERE Sandrine" userId="ad1decff-d2ce-4d29-9d90-3591b80bc438" providerId="ADAL" clId="{1E215674-DDB3-40FF-B836-35094D8596A4}" dt="2021-04-14T17:31:42.880" v="9017"/>
          <ac:cxnSpMkLst>
            <pc:docMk/>
            <pc:sldMk cId="2995402291" sldId="302"/>
            <ac:cxnSpMk id="35" creationId="{1E1B9807-0F75-4037-B938-B9514B808CAE}"/>
          </ac:cxnSpMkLst>
        </pc:cxnChg>
        <pc:cxnChg chg="del mod ord">
          <ac:chgData name="PROVENCHERE Sandrine" userId="ad1decff-d2ce-4d29-9d90-3591b80bc438" providerId="ADAL" clId="{1E215674-DDB3-40FF-B836-35094D8596A4}" dt="2021-04-14T17:31:42.870" v="9011"/>
          <ac:cxnSpMkLst>
            <pc:docMk/>
            <pc:sldMk cId="2995402291" sldId="302"/>
            <ac:cxnSpMk id="36" creationId="{7851C47D-F0EB-4387-A35B-59CBEC341694}"/>
          </ac:cxnSpMkLst>
        </pc:cxnChg>
        <pc:cxnChg chg="del mod ord">
          <ac:chgData name="PROVENCHERE Sandrine" userId="ad1decff-d2ce-4d29-9d90-3591b80bc438" providerId="ADAL" clId="{1E215674-DDB3-40FF-B836-35094D8596A4}" dt="2021-04-14T17:31:42.911" v="9033"/>
          <ac:cxnSpMkLst>
            <pc:docMk/>
            <pc:sldMk cId="2995402291" sldId="302"/>
            <ac:cxnSpMk id="37" creationId="{4DF12F17-6D80-4E11-A96A-2987915E0175}"/>
          </ac:cxnSpMkLst>
        </pc:cxnChg>
        <pc:cxnChg chg="del mod ord">
          <ac:chgData name="PROVENCHERE Sandrine" userId="ad1decff-d2ce-4d29-9d90-3591b80bc438" providerId="ADAL" clId="{1E215674-DDB3-40FF-B836-35094D8596A4}" dt="2021-04-14T17:31:42.978" v="9073"/>
          <ac:cxnSpMkLst>
            <pc:docMk/>
            <pc:sldMk cId="2995402291" sldId="302"/>
            <ac:cxnSpMk id="38" creationId="{AADECD36-7144-4691-A257-7659AD49A19A}"/>
          </ac:cxnSpMkLst>
        </pc:cxnChg>
        <pc:cxnChg chg="del mod ord">
          <ac:chgData name="PROVENCHERE Sandrine" userId="ad1decff-d2ce-4d29-9d90-3591b80bc438" providerId="ADAL" clId="{1E215674-DDB3-40FF-B836-35094D8596A4}" dt="2021-04-14T17:31:42.928" v="9043"/>
          <ac:cxnSpMkLst>
            <pc:docMk/>
            <pc:sldMk cId="2995402291" sldId="302"/>
            <ac:cxnSpMk id="39" creationId="{B729E8F7-0729-4078-B03D-4E39EFC11D0E}"/>
          </ac:cxnSpMkLst>
        </pc:cxnChg>
        <pc:cxnChg chg="del mod ord">
          <ac:chgData name="PROVENCHERE Sandrine" userId="ad1decff-d2ce-4d29-9d90-3591b80bc438" providerId="ADAL" clId="{1E215674-DDB3-40FF-B836-35094D8596A4}" dt="2021-04-14T17:31:42.960" v="9063"/>
          <ac:cxnSpMkLst>
            <pc:docMk/>
            <pc:sldMk cId="2995402291" sldId="302"/>
            <ac:cxnSpMk id="40" creationId="{6AB998D8-9816-440E-8ABD-2C6CDF818089}"/>
          </ac:cxnSpMkLst>
        </pc:cxnChg>
        <pc:cxnChg chg="del mod ord">
          <ac:chgData name="PROVENCHERE Sandrine" userId="ad1decff-d2ce-4d29-9d90-3591b80bc438" providerId="ADAL" clId="{1E215674-DDB3-40FF-B836-35094D8596A4}" dt="2021-04-14T17:31:42.889" v="9022"/>
          <ac:cxnSpMkLst>
            <pc:docMk/>
            <pc:sldMk cId="2995402291" sldId="302"/>
            <ac:cxnSpMk id="41" creationId="{3EB9A08C-B6A2-4470-87A6-4D0A0EC5AA0F}"/>
          </ac:cxnSpMkLst>
        </pc:cxnChg>
        <pc:cxnChg chg="del mod ord">
          <ac:chgData name="PROVENCHERE Sandrine" userId="ad1decff-d2ce-4d29-9d90-3591b80bc438" providerId="ADAL" clId="{1E215674-DDB3-40FF-B836-35094D8596A4}" dt="2021-04-14T17:31:42.991" v="9083"/>
          <ac:cxnSpMkLst>
            <pc:docMk/>
            <pc:sldMk cId="2995402291" sldId="302"/>
            <ac:cxnSpMk id="42" creationId="{C752FA6D-9DE1-40EC-9DF7-B216A56C2891}"/>
          </ac:cxnSpMkLst>
        </pc:cxnChg>
        <pc:cxnChg chg="del mod ord">
          <ac:chgData name="PROVENCHERE Sandrine" userId="ad1decff-d2ce-4d29-9d90-3591b80bc438" providerId="ADAL" clId="{1E215674-DDB3-40FF-B836-35094D8596A4}" dt="2021-04-14T17:31:42.969" v="9068"/>
          <ac:cxnSpMkLst>
            <pc:docMk/>
            <pc:sldMk cId="2995402291" sldId="302"/>
            <ac:cxnSpMk id="43" creationId="{B7521542-B00F-4229-9657-02EEA0444F82}"/>
          </ac:cxnSpMkLst>
        </pc:cxnChg>
        <pc:cxnChg chg="del mod ord">
          <ac:chgData name="PROVENCHERE Sandrine" userId="ad1decff-d2ce-4d29-9d90-3591b80bc438" providerId="ADAL" clId="{1E215674-DDB3-40FF-B836-35094D8596A4}" dt="2021-04-14T17:31:42.943" v="9052"/>
          <ac:cxnSpMkLst>
            <pc:docMk/>
            <pc:sldMk cId="2995402291" sldId="302"/>
            <ac:cxnSpMk id="44" creationId="{D24C567F-3297-40E7-BCAD-BDA514F61D4F}"/>
          </ac:cxnSpMkLst>
        </pc:cxnChg>
        <pc:cxnChg chg="del mod ord">
          <ac:chgData name="PROVENCHERE Sandrine" userId="ad1decff-d2ce-4d29-9d90-3591b80bc438" providerId="ADAL" clId="{1E215674-DDB3-40FF-B836-35094D8596A4}" dt="2021-04-14T17:31:42.854" v="9004"/>
          <ac:cxnSpMkLst>
            <pc:docMk/>
            <pc:sldMk cId="2995402291" sldId="302"/>
            <ac:cxnSpMk id="45" creationId="{7FE0E7E8-CB1E-4565-B533-95EDFA69A84E}"/>
          </ac:cxnSpMkLst>
        </pc:cxnChg>
        <pc:cxnChg chg="del mod ord">
          <ac:chgData name="PROVENCHERE Sandrine" userId="ad1decff-d2ce-4d29-9d90-3591b80bc438" providerId="ADAL" clId="{1E215674-DDB3-40FF-B836-35094D8596A4}" dt="2021-04-14T17:31:42.933" v="9046"/>
          <ac:cxnSpMkLst>
            <pc:docMk/>
            <pc:sldMk cId="2995402291" sldId="302"/>
            <ac:cxnSpMk id="46" creationId="{CF339023-0634-4B2C-95E7-444941F09DA7}"/>
          </ac:cxnSpMkLst>
        </pc:cxnChg>
        <pc:cxnChg chg="del mod ord">
          <ac:chgData name="PROVENCHERE Sandrine" userId="ad1decff-d2ce-4d29-9d90-3591b80bc438" providerId="ADAL" clId="{1E215674-DDB3-40FF-B836-35094D8596A4}" dt="2021-04-14T17:31:42.918" v="9037"/>
          <ac:cxnSpMkLst>
            <pc:docMk/>
            <pc:sldMk cId="2995402291" sldId="302"/>
            <ac:cxnSpMk id="47" creationId="{2F2D94DF-A0A5-4B29-9726-30C9D0751F7C}"/>
          </ac:cxnSpMkLst>
        </pc:cxnChg>
        <pc:cxnChg chg="del mod ord">
          <ac:chgData name="PROVENCHERE Sandrine" userId="ad1decff-d2ce-4d29-9d90-3591b80bc438" providerId="ADAL" clId="{1E215674-DDB3-40FF-B836-35094D8596A4}" dt="2021-04-14T17:31:42.862" v="9007"/>
          <ac:cxnSpMkLst>
            <pc:docMk/>
            <pc:sldMk cId="2995402291" sldId="302"/>
            <ac:cxnSpMk id="57" creationId="{B2F3E4F5-C804-4DF0-8C81-168D07ACCA02}"/>
          </ac:cxnSpMkLst>
        </pc:cxnChg>
        <pc:cxnChg chg="add mod">
          <ac:chgData name="PROVENCHERE Sandrine" userId="ad1decff-d2ce-4d29-9d90-3591b80bc438" providerId="ADAL" clId="{1E215674-DDB3-40FF-B836-35094D8596A4}" dt="2021-04-14T17:42:56.150" v="9652" actId="208"/>
          <ac:cxnSpMkLst>
            <pc:docMk/>
            <pc:sldMk cId="2995402291" sldId="302"/>
            <ac:cxnSpMk id="110" creationId="{AB179ED3-C92F-4DCD-AB77-7B7568E633D4}"/>
          </ac:cxnSpMkLst>
        </pc:cxnChg>
        <pc:cxnChg chg="add mod">
          <ac:chgData name="PROVENCHERE Sandrine" userId="ad1decff-d2ce-4d29-9d90-3591b80bc438" providerId="ADAL" clId="{1E215674-DDB3-40FF-B836-35094D8596A4}" dt="2021-04-14T17:42:56.150" v="9652" actId="208"/>
          <ac:cxnSpMkLst>
            <pc:docMk/>
            <pc:sldMk cId="2995402291" sldId="302"/>
            <ac:cxnSpMk id="111" creationId="{43249D6E-D2EC-4278-B920-3878A12F4889}"/>
          </ac:cxnSpMkLst>
        </pc:cxnChg>
        <pc:cxnChg chg="add mod">
          <ac:chgData name="PROVENCHERE Sandrine" userId="ad1decff-d2ce-4d29-9d90-3591b80bc438" providerId="ADAL" clId="{1E215674-DDB3-40FF-B836-35094D8596A4}" dt="2021-04-14T17:46:10.227" v="9894" actId="554"/>
          <ac:cxnSpMkLst>
            <pc:docMk/>
            <pc:sldMk cId="2995402291" sldId="302"/>
            <ac:cxnSpMk id="118" creationId="{3712C1A0-F9AD-4284-90D0-C98C189AD33D}"/>
          </ac:cxnSpMkLst>
        </pc:cxnChg>
        <pc:cxnChg chg="add mod">
          <ac:chgData name="PROVENCHERE Sandrine" userId="ad1decff-d2ce-4d29-9d90-3591b80bc438" providerId="ADAL" clId="{1E215674-DDB3-40FF-B836-35094D8596A4}" dt="2021-04-14T17:46:10.227" v="9894" actId="554"/>
          <ac:cxnSpMkLst>
            <pc:docMk/>
            <pc:sldMk cId="2995402291" sldId="302"/>
            <ac:cxnSpMk id="224" creationId="{62F3F9D0-C2AD-48F3-9AD7-295E4EE8BB54}"/>
          </ac:cxnSpMkLst>
        </pc:cxnChg>
        <pc:cxnChg chg="mod ord">
          <ac:chgData name="PROVENCHERE Sandrine" userId="ad1decff-d2ce-4d29-9d90-3591b80bc438" providerId="ADAL" clId="{1E215674-DDB3-40FF-B836-35094D8596A4}" dt="2021-04-14T17:36:53.934" v="9505"/>
          <ac:cxnSpMkLst>
            <pc:docMk/>
            <pc:sldMk cId="2995402291" sldId="302"/>
            <ac:cxnSpMk id="241" creationId="{8D72865D-2B00-4738-A799-D04F074D05F0}"/>
          </ac:cxnSpMkLst>
        </pc:cxnChg>
        <pc:cxnChg chg="mod ord">
          <ac:chgData name="PROVENCHERE Sandrine" userId="ad1decff-d2ce-4d29-9d90-3591b80bc438" providerId="ADAL" clId="{1E215674-DDB3-40FF-B836-35094D8596A4}" dt="2021-04-14T17:36:53.935" v="9507"/>
          <ac:cxnSpMkLst>
            <pc:docMk/>
            <pc:sldMk cId="2995402291" sldId="302"/>
            <ac:cxnSpMk id="242" creationId="{53E0D234-6E24-49BC-A813-740A80CE002B}"/>
          </ac:cxnSpMkLst>
        </pc:cxnChg>
      </pc:sldChg>
      <pc:sldChg chg="delSp modSp">
        <pc:chgData name="PROVENCHERE Sandrine" userId="ad1decff-d2ce-4d29-9d90-3591b80bc438" providerId="ADAL" clId="{1E215674-DDB3-40FF-B836-35094D8596A4}" dt="2021-04-14T19:27:33.139" v="11607" actId="404"/>
        <pc:sldMkLst>
          <pc:docMk/>
          <pc:sldMk cId="3786029249" sldId="306"/>
        </pc:sldMkLst>
        <pc:spChg chg="del">
          <ac:chgData name="PROVENCHERE Sandrine" userId="ad1decff-d2ce-4d29-9d90-3591b80bc438" providerId="ADAL" clId="{1E215674-DDB3-40FF-B836-35094D8596A4}" dt="2021-04-14T17:56:47.439" v="10387" actId="478"/>
          <ac:spMkLst>
            <pc:docMk/>
            <pc:sldMk cId="3786029249" sldId="306"/>
            <ac:spMk id="3" creationId="{BE3FFFDE-FE24-4B88-A65F-2CD17FEF00AE}"/>
          </ac:spMkLst>
        </pc:spChg>
        <pc:spChg chg="mod">
          <ac:chgData name="PROVENCHERE Sandrine" userId="ad1decff-d2ce-4d29-9d90-3591b80bc438" providerId="ADAL" clId="{1E215674-DDB3-40FF-B836-35094D8596A4}" dt="2021-04-14T18:52:26.390" v="11038" actId="108"/>
          <ac:spMkLst>
            <pc:docMk/>
            <pc:sldMk cId="3786029249" sldId="306"/>
            <ac:spMk id="17" creationId="{17A54928-8ADB-4B10-900E-B3726C991048}"/>
          </ac:spMkLst>
        </pc:spChg>
        <pc:spChg chg="mod">
          <ac:chgData name="PROVENCHERE Sandrine" userId="ad1decff-d2ce-4d29-9d90-3591b80bc438" providerId="ADAL" clId="{1E215674-DDB3-40FF-B836-35094D8596A4}" dt="2021-04-14T19:27:33.139" v="11607" actId="404"/>
          <ac:spMkLst>
            <pc:docMk/>
            <pc:sldMk cId="3786029249" sldId="306"/>
            <ac:spMk id="18" creationId="{A68FD972-9CA0-4E04-A011-04EB94EF4394}"/>
          </ac:spMkLst>
        </pc:spChg>
      </pc:sldChg>
      <pc:sldChg chg="modSp">
        <pc:chgData name="PROVENCHERE Sandrine" userId="ad1decff-d2ce-4d29-9d90-3591b80bc438" providerId="ADAL" clId="{1E215674-DDB3-40FF-B836-35094D8596A4}" dt="2021-04-14T14:40:05.957" v="3" actId="20577"/>
        <pc:sldMkLst>
          <pc:docMk/>
          <pc:sldMk cId="3366464129" sldId="307"/>
        </pc:sldMkLst>
        <pc:spChg chg="mod">
          <ac:chgData name="PROVENCHERE Sandrine" userId="ad1decff-d2ce-4d29-9d90-3591b80bc438" providerId="ADAL" clId="{1E215674-DDB3-40FF-B836-35094D8596A4}" dt="2021-04-14T14:40:05.957" v="3" actId="20577"/>
          <ac:spMkLst>
            <pc:docMk/>
            <pc:sldMk cId="3366464129" sldId="307"/>
            <ac:spMk id="2" creationId="{71155487-2948-4B79-B454-10A25402BAD8}"/>
          </ac:spMkLst>
        </pc:spChg>
      </pc:sldChg>
      <pc:sldChg chg="addSp delSp modSp mod modCm">
        <pc:chgData name="PROVENCHERE Sandrine" userId="ad1decff-d2ce-4d29-9d90-3591b80bc438" providerId="ADAL" clId="{1E215674-DDB3-40FF-B836-35094D8596A4}" dt="2021-04-14T17:36:22.078" v="9226" actId="27918"/>
        <pc:sldMkLst>
          <pc:docMk/>
          <pc:sldMk cId="2715760571" sldId="311"/>
        </pc:sldMkLst>
        <pc:spChg chg="add del mod modVis">
          <ac:chgData name="PROVENCHERE Sandrine" userId="ad1decff-d2ce-4d29-9d90-3591b80bc438" providerId="ADAL" clId="{1E215674-DDB3-40FF-B836-35094D8596A4}" dt="2021-04-14T15:15:40.066" v="98"/>
          <ac:spMkLst>
            <pc:docMk/>
            <pc:sldMk cId="2715760571" sldId="311"/>
            <ac:spMk id="2" creationId="{579A1D09-DBD3-4309-854B-93817ECC3068}"/>
          </ac:spMkLst>
        </pc:spChg>
        <pc:spChg chg="mod ord">
          <ac:chgData name="PROVENCHERE Sandrine" userId="ad1decff-d2ce-4d29-9d90-3591b80bc438" providerId="ADAL" clId="{1E215674-DDB3-40FF-B836-35094D8596A4}" dt="2021-04-14T15:29:00.243" v="7961"/>
          <ac:spMkLst>
            <pc:docMk/>
            <pc:sldMk cId="2715760571" sldId="311"/>
            <ac:spMk id="3" creationId="{7123C9CD-0DB3-4CF8-A58B-E9B01F7752F7}"/>
          </ac:spMkLst>
        </pc:spChg>
        <pc:spChg chg="mod ord">
          <ac:chgData name="PROVENCHERE Sandrine" userId="ad1decff-d2ce-4d29-9d90-3591b80bc438" providerId="ADAL" clId="{1E215674-DDB3-40FF-B836-35094D8596A4}" dt="2021-04-14T15:29:00.101" v="7791"/>
          <ac:spMkLst>
            <pc:docMk/>
            <pc:sldMk cId="2715760571" sldId="311"/>
            <ac:spMk id="5" creationId="{10A373AB-AD61-4AED-871E-8986A038C3B1}"/>
          </ac:spMkLst>
        </pc:spChg>
        <pc:spChg chg="mod ord">
          <ac:chgData name="PROVENCHERE Sandrine" userId="ad1decff-d2ce-4d29-9d90-3591b80bc438" providerId="ADAL" clId="{1E215674-DDB3-40FF-B836-35094D8596A4}" dt="2021-04-14T17:01:36.432" v="8070" actId="207"/>
          <ac:spMkLst>
            <pc:docMk/>
            <pc:sldMk cId="2715760571" sldId="311"/>
            <ac:spMk id="8" creationId="{0F248677-2B3B-4D33-8092-A63747D709D5}"/>
          </ac:spMkLst>
        </pc:spChg>
        <pc:spChg chg="mod ord">
          <ac:chgData name="PROVENCHERE Sandrine" userId="ad1decff-d2ce-4d29-9d90-3591b80bc438" providerId="ADAL" clId="{1E215674-DDB3-40FF-B836-35094D8596A4}" dt="2021-04-14T15:29:00.274" v="8001"/>
          <ac:spMkLst>
            <pc:docMk/>
            <pc:sldMk cId="2715760571" sldId="311"/>
            <ac:spMk id="9" creationId="{3D55471C-F673-49AF-B6B6-D1F7793F450D}"/>
          </ac:spMkLst>
        </pc:spChg>
        <pc:spChg chg="mod ord">
          <ac:chgData name="PROVENCHERE Sandrine" userId="ad1decff-d2ce-4d29-9d90-3591b80bc438" providerId="ADAL" clId="{1E215674-DDB3-40FF-B836-35094D8596A4}" dt="2021-04-14T15:29:00.106" v="7799"/>
          <ac:spMkLst>
            <pc:docMk/>
            <pc:sldMk cId="2715760571" sldId="311"/>
            <ac:spMk id="10" creationId="{00000000-0000-0000-0000-000000000000}"/>
          </ac:spMkLst>
        </pc:spChg>
        <pc:spChg chg="mod ord">
          <ac:chgData name="PROVENCHERE Sandrine" userId="ad1decff-d2ce-4d29-9d90-3591b80bc438" providerId="ADAL" clId="{1E215674-DDB3-40FF-B836-35094D8596A4}" dt="2021-04-14T15:29:00.104" v="7797"/>
          <ac:spMkLst>
            <pc:docMk/>
            <pc:sldMk cId="2715760571" sldId="311"/>
            <ac:spMk id="11" creationId="{00000000-0000-0000-0000-000000000000}"/>
          </ac:spMkLst>
        </pc:spChg>
        <pc:spChg chg="add del mod ord modVis">
          <ac:chgData name="PROVENCHERE Sandrine" userId="ad1decff-d2ce-4d29-9d90-3591b80bc438" providerId="ADAL" clId="{1E215674-DDB3-40FF-B836-35094D8596A4}" dt="2021-04-14T15:15:57.606" v="847"/>
          <ac:spMkLst>
            <pc:docMk/>
            <pc:sldMk cId="2715760571" sldId="311"/>
            <ac:spMk id="12" creationId="{6CB88C86-D2C0-4674-86FC-064E714642C5}"/>
          </ac:spMkLst>
        </pc:spChg>
        <pc:spChg chg="mod ord">
          <ac:chgData name="PROVENCHERE Sandrine" userId="ad1decff-d2ce-4d29-9d90-3591b80bc438" providerId="ADAL" clId="{1E215674-DDB3-40FF-B836-35094D8596A4}" dt="2021-04-14T15:29:00.106" v="7801"/>
          <ac:spMkLst>
            <pc:docMk/>
            <pc:sldMk cId="2715760571" sldId="311"/>
            <ac:spMk id="13" creationId="{00000000-0000-0000-0000-000000000000}"/>
          </ac:spMkLst>
        </pc:spChg>
        <pc:spChg chg="add del mod ord modVis">
          <ac:chgData name="PROVENCHERE Sandrine" userId="ad1decff-d2ce-4d29-9d90-3591b80bc438" providerId="ADAL" clId="{1E215674-DDB3-40FF-B836-35094D8596A4}" dt="2021-04-14T15:16:03.746" v="1514"/>
          <ac:spMkLst>
            <pc:docMk/>
            <pc:sldMk cId="2715760571" sldId="311"/>
            <ac:spMk id="14" creationId="{77297AA9-D817-4707-9BFD-B821D877B0C2}"/>
          </ac:spMkLst>
        </pc:spChg>
        <pc:spChg chg="add del mod ord modVis">
          <ac:chgData name="PROVENCHERE Sandrine" userId="ad1decff-d2ce-4d29-9d90-3591b80bc438" providerId="ADAL" clId="{1E215674-DDB3-40FF-B836-35094D8596A4}" dt="2021-04-14T15:18:04.693" v="2089"/>
          <ac:spMkLst>
            <pc:docMk/>
            <pc:sldMk cId="2715760571" sldId="311"/>
            <ac:spMk id="15" creationId="{27F4C0CD-ACC1-4956-A0DC-956E64BD4B16}"/>
          </ac:spMkLst>
        </pc:spChg>
        <pc:spChg chg="mod ord">
          <ac:chgData name="PROVENCHERE Sandrine" userId="ad1decff-d2ce-4d29-9d90-3591b80bc438" providerId="ADAL" clId="{1E215674-DDB3-40FF-B836-35094D8596A4}" dt="2021-04-14T15:29:00.108" v="7803"/>
          <ac:spMkLst>
            <pc:docMk/>
            <pc:sldMk cId="2715760571" sldId="311"/>
            <ac:spMk id="16" creationId="{00000000-0000-0000-0000-000000000000}"/>
          </ac:spMkLst>
        </pc:spChg>
        <pc:spChg chg="mod ord">
          <ac:chgData name="PROVENCHERE Sandrine" userId="ad1decff-d2ce-4d29-9d90-3591b80bc438" providerId="ADAL" clId="{1E215674-DDB3-40FF-B836-35094D8596A4}" dt="2021-04-14T15:29:00.108" v="7805"/>
          <ac:spMkLst>
            <pc:docMk/>
            <pc:sldMk cId="2715760571" sldId="311"/>
            <ac:spMk id="17" creationId="{00000000-0000-0000-0000-000000000000}"/>
          </ac:spMkLst>
        </pc:spChg>
        <pc:spChg chg="mod ord">
          <ac:chgData name="PROVENCHERE Sandrine" userId="ad1decff-d2ce-4d29-9d90-3591b80bc438" providerId="ADAL" clId="{1E215674-DDB3-40FF-B836-35094D8596A4}" dt="2021-04-14T15:29:00.114" v="7817"/>
          <ac:spMkLst>
            <pc:docMk/>
            <pc:sldMk cId="2715760571" sldId="311"/>
            <ac:spMk id="18" creationId="{C818D617-BDA1-4FA4-AD0B-655F50438613}"/>
          </ac:spMkLst>
        </pc:spChg>
        <pc:spChg chg="mod ord">
          <ac:chgData name="PROVENCHERE Sandrine" userId="ad1decff-d2ce-4d29-9d90-3591b80bc438" providerId="ADAL" clId="{1E215674-DDB3-40FF-B836-35094D8596A4}" dt="2021-04-14T15:29:00.115" v="7819"/>
          <ac:spMkLst>
            <pc:docMk/>
            <pc:sldMk cId="2715760571" sldId="311"/>
            <ac:spMk id="19" creationId="{13034FE2-4385-4DCF-B23C-99CE479BC164}"/>
          </ac:spMkLst>
        </pc:spChg>
        <pc:spChg chg="add del mod ord modVis">
          <ac:chgData name="PROVENCHERE Sandrine" userId="ad1decff-d2ce-4d29-9d90-3591b80bc438" providerId="ADAL" clId="{1E215674-DDB3-40FF-B836-35094D8596A4}" dt="2021-04-14T15:24:10.117" v="7093" actId="962"/>
          <ac:spMkLst>
            <pc:docMk/>
            <pc:sldMk cId="2715760571" sldId="311"/>
            <ac:spMk id="21" creationId="{41E1EC12-4B3B-470D-8D6A-B605A2041630}"/>
          </ac:spMkLst>
        </pc:spChg>
        <pc:spChg chg="mod ord">
          <ac:chgData name="PROVENCHERE Sandrine" userId="ad1decff-d2ce-4d29-9d90-3591b80bc438" providerId="ADAL" clId="{1E215674-DDB3-40FF-B836-35094D8596A4}" dt="2021-04-14T15:29:00.110" v="7807"/>
          <ac:spMkLst>
            <pc:docMk/>
            <pc:sldMk cId="2715760571" sldId="311"/>
            <ac:spMk id="34" creationId="{6C637BB9-5738-4644-B55B-C7F69DDAAE70}"/>
          </ac:spMkLst>
        </pc:spChg>
        <pc:spChg chg="add mod">
          <ac:chgData name="PROVENCHERE Sandrine" userId="ad1decff-d2ce-4d29-9d90-3591b80bc438" providerId="ADAL" clId="{1E215674-DDB3-40FF-B836-35094D8596A4}" dt="2021-04-14T15:24:09.206" v="5310" actId="207"/>
          <ac:spMkLst>
            <pc:docMk/>
            <pc:sldMk cId="2715760571" sldId="311"/>
            <ac:spMk id="56" creationId="{B3197B5C-0B5C-4046-9C0D-2BC91A91CCF5}"/>
          </ac:spMkLst>
        </pc:spChg>
        <pc:spChg chg="add mod">
          <ac:chgData name="PROVENCHERE Sandrine" userId="ad1decff-d2ce-4d29-9d90-3591b80bc438" providerId="ADAL" clId="{1E215674-DDB3-40FF-B836-35094D8596A4}" dt="2021-04-14T15:24:09.204" v="5305" actId="207"/>
          <ac:spMkLst>
            <pc:docMk/>
            <pc:sldMk cId="2715760571" sldId="311"/>
            <ac:spMk id="57" creationId="{AE580147-B00A-4A5C-8173-3F60F68B5170}"/>
          </ac:spMkLst>
        </pc:spChg>
        <pc:spChg chg="add mod">
          <ac:chgData name="PROVENCHERE Sandrine" userId="ad1decff-d2ce-4d29-9d90-3591b80bc438" providerId="ADAL" clId="{1E215674-DDB3-40FF-B836-35094D8596A4}" dt="2021-04-14T15:24:09.201" v="5300" actId="207"/>
          <ac:spMkLst>
            <pc:docMk/>
            <pc:sldMk cId="2715760571" sldId="311"/>
            <ac:spMk id="58" creationId="{40A9F39D-8A32-48F1-80B8-40B2BECBE5E3}"/>
          </ac:spMkLst>
        </pc:spChg>
        <pc:spChg chg="add mod">
          <ac:chgData name="PROVENCHERE Sandrine" userId="ad1decff-d2ce-4d29-9d90-3591b80bc438" providerId="ADAL" clId="{1E215674-DDB3-40FF-B836-35094D8596A4}" dt="2021-04-14T15:24:09.199" v="5295" actId="207"/>
          <ac:spMkLst>
            <pc:docMk/>
            <pc:sldMk cId="2715760571" sldId="311"/>
            <ac:spMk id="59" creationId="{6BD52ACF-F269-48F6-A118-C6346D12F335}"/>
          </ac:spMkLst>
        </pc:spChg>
        <pc:spChg chg="add del mod ord modVis">
          <ac:chgData name="PROVENCHERE Sandrine" userId="ad1decff-d2ce-4d29-9d90-3591b80bc438" providerId="ADAL" clId="{1E215674-DDB3-40FF-B836-35094D8596A4}" dt="2021-04-14T15:28:55.062" v="7616"/>
          <ac:spMkLst>
            <pc:docMk/>
            <pc:sldMk cId="2715760571" sldId="311"/>
            <ac:spMk id="60" creationId="{5EFAA473-9FDA-426F-8BB2-92F831D1E997}"/>
          </ac:spMkLst>
        </pc:spChg>
        <pc:spChg chg="add del mod ord modVis">
          <ac:chgData name="PROVENCHERE Sandrine" userId="ad1decff-d2ce-4d29-9d90-3591b80bc438" providerId="ADAL" clId="{1E215674-DDB3-40FF-B836-35094D8596A4}" dt="2021-04-14T15:29:00.301" v="8035"/>
          <ac:spMkLst>
            <pc:docMk/>
            <pc:sldMk cId="2715760571" sldId="311"/>
            <ac:spMk id="61" creationId="{D17A32D1-4302-482D-B6A8-E3F32FCD0160}"/>
          </ac:spMkLst>
        </pc:spChg>
        <pc:spChg chg="mod ord">
          <ac:chgData name="PROVENCHERE Sandrine" userId="ad1decff-d2ce-4d29-9d90-3591b80bc438" providerId="ADAL" clId="{1E215674-DDB3-40FF-B836-35094D8596A4}" dt="2021-04-14T15:29:00.119" v="7823"/>
          <ac:spMkLst>
            <pc:docMk/>
            <pc:sldMk cId="2715760571" sldId="311"/>
            <ac:spMk id="138" creationId="{D7F57ED2-D42E-4509-B433-A35419661A4D}"/>
          </ac:spMkLst>
        </pc:spChg>
        <pc:spChg chg="mod ord">
          <ac:chgData name="PROVENCHERE Sandrine" userId="ad1decff-d2ce-4d29-9d90-3591b80bc438" providerId="ADAL" clId="{1E215674-DDB3-40FF-B836-35094D8596A4}" dt="2021-04-14T15:29:00.155" v="7871"/>
          <ac:spMkLst>
            <pc:docMk/>
            <pc:sldMk cId="2715760571" sldId="311"/>
            <ac:spMk id="144" creationId="{6722C45A-27DD-4C98-B534-7A0593FA8238}"/>
          </ac:spMkLst>
        </pc:spChg>
        <pc:spChg chg="mod ord">
          <ac:chgData name="PROVENCHERE Sandrine" userId="ad1decff-d2ce-4d29-9d90-3591b80bc438" providerId="ADAL" clId="{1E215674-DDB3-40FF-B836-35094D8596A4}" dt="2021-04-14T15:29:00.157" v="7873"/>
          <ac:spMkLst>
            <pc:docMk/>
            <pc:sldMk cId="2715760571" sldId="311"/>
            <ac:spMk id="145" creationId="{38454F27-009D-49D5-824E-8B8829526155}"/>
          </ac:spMkLst>
        </pc:spChg>
        <pc:spChg chg="del">
          <ac:chgData name="PROVENCHERE Sandrine" userId="ad1decff-d2ce-4d29-9d90-3591b80bc438" providerId="ADAL" clId="{1E215674-DDB3-40FF-B836-35094D8596A4}" dt="2021-04-14T15:15:56.050" v="105"/>
          <ac:spMkLst>
            <pc:docMk/>
            <pc:sldMk cId="2715760571" sldId="311"/>
            <ac:spMk id="147" creationId="{26E935A4-6044-43EB-A171-DCFE88C9805A}"/>
          </ac:spMkLst>
        </pc:spChg>
        <pc:spChg chg="mod">
          <ac:chgData name="PROVENCHERE Sandrine" userId="ad1decff-d2ce-4d29-9d90-3591b80bc438" providerId="ADAL" clId="{1E215674-DDB3-40FF-B836-35094D8596A4}" dt="2021-04-14T15:29:00.162" v="7877"/>
          <ac:spMkLst>
            <pc:docMk/>
            <pc:sldMk cId="2715760571" sldId="311"/>
            <ac:spMk id="155" creationId="{9118D993-A61B-4944-843B-E6C8A5D8DF1D}"/>
          </ac:spMkLst>
        </pc:spChg>
        <pc:spChg chg="mod">
          <ac:chgData name="PROVENCHERE Sandrine" userId="ad1decff-d2ce-4d29-9d90-3591b80bc438" providerId="ADAL" clId="{1E215674-DDB3-40FF-B836-35094D8596A4}" dt="2021-04-14T15:29:00.206" v="7920"/>
          <ac:spMkLst>
            <pc:docMk/>
            <pc:sldMk cId="2715760571" sldId="311"/>
            <ac:spMk id="157" creationId="{FB7A7D5C-429B-42F4-B257-D107BFE0E02D}"/>
          </ac:spMkLst>
        </pc:spChg>
        <pc:spChg chg="mod">
          <ac:chgData name="PROVENCHERE Sandrine" userId="ad1decff-d2ce-4d29-9d90-3591b80bc438" providerId="ADAL" clId="{1E215674-DDB3-40FF-B836-35094D8596A4}" dt="2021-04-14T15:29:00.160" v="7875"/>
          <ac:spMkLst>
            <pc:docMk/>
            <pc:sldMk cId="2715760571" sldId="311"/>
            <ac:spMk id="159" creationId="{CE50B501-0FAC-4DCC-827E-89A6E54B8A8B}"/>
          </ac:spMkLst>
        </pc:spChg>
        <pc:spChg chg="mod">
          <ac:chgData name="PROVENCHERE Sandrine" userId="ad1decff-d2ce-4d29-9d90-3591b80bc438" providerId="ADAL" clId="{1E215674-DDB3-40FF-B836-35094D8596A4}" dt="2021-04-14T15:29:00.164" v="7878"/>
          <ac:spMkLst>
            <pc:docMk/>
            <pc:sldMk cId="2715760571" sldId="311"/>
            <ac:spMk id="160" creationId="{467CFD82-918A-4A09-BCE1-8E484DEB93B9}"/>
          </ac:spMkLst>
        </pc:spChg>
        <pc:spChg chg="mod">
          <ac:chgData name="PROVENCHERE Sandrine" userId="ad1decff-d2ce-4d29-9d90-3591b80bc438" providerId="ADAL" clId="{1E215674-DDB3-40FF-B836-35094D8596A4}" dt="2021-04-14T15:29:00.166" v="7880"/>
          <ac:spMkLst>
            <pc:docMk/>
            <pc:sldMk cId="2715760571" sldId="311"/>
            <ac:spMk id="161" creationId="{5A96F911-7CDA-4B45-99C2-716CDD4782AF}"/>
          </ac:spMkLst>
        </pc:spChg>
        <pc:spChg chg="mod">
          <ac:chgData name="PROVENCHERE Sandrine" userId="ad1decff-d2ce-4d29-9d90-3591b80bc438" providerId="ADAL" clId="{1E215674-DDB3-40FF-B836-35094D8596A4}" dt="2021-04-14T15:29:00.173" v="7887"/>
          <ac:spMkLst>
            <pc:docMk/>
            <pc:sldMk cId="2715760571" sldId="311"/>
            <ac:spMk id="162" creationId="{5CA29E31-9C27-47C4-87D8-9254DF9F739D}"/>
          </ac:spMkLst>
        </pc:spChg>
        <pc:spChg chg="mod">
          <ac:chgData name="PROVENCHERE Sandrine" userId="ad1decff-d2ce-4d29-9d90-3591b80bc438" providerId="ADAL" clId="{1E215674-DDB3-40FF-B836-35094D8596A4}" dt="2021-04-14T15:29:00.176" v="7890"/>
          <ac:spMkLst>
            <pc:docMk/>
            <pc:sldMk cId="2715760571" sldId="311"/>
            <ac:spMk id="164" creationId="{7B64E7BF-CF59-4648-94EB-7A74AD3D5C0D}"/>
          </ac:spMkLst>
        </pc:spChg>
        <pc:spChg chg="add del mod">
          <ac:chgData name="PROVENCHERE Sandrine" userId="ad1decff-d2ce-4d29-9d90-3591b80bc438" providerId="ADAL" clId="{1E215674-DDB3-40FF-B836-35094D8596A4}" dt="2021-04-14T15:29:00.209" v="7922"/>
          <ac:spMkLst>
            <pc:docMk/>
            <pc:sldMk cId="2715760571" sldId="311"/>
            <ac:spMk id="165" creationId="{72493A5C-7BE1-449E-A5BA-C58C77C4D6A1}"/>
          </ac:spMkLst>
        </pc:spChg>
        <pc:spChg chg="mod">
          <ac:chgData name="PROVENCHERE Sandrine" userId="ad1decff-d2ce-4d29-9d90-3591b80bc438" providerId="ADAL" clId="{1E215674-DDB3-40FF-B836-35094D8596A4}" dt="2021-04-14T15:29:00.161" v="7876"/>
          <ac:spMkLst>
            <pc:docMk/>
            <pc:sldMk cId="2715760571" sldId="311"/>
            <ac:spMk id="167" creationId="{1EE0F536-1CDA-4CA8-B758-F9EB93AD4D7E}"/>
          </ac:spMkLst>
        </pc:spChg>
        <pc:spChg chg="del mod">
          <ac:chgData name="PROVENCHERE Sandrine" userId="ad1decff-d2ce-4d29-9d90-3591b80bc438" providerId="ADAL" clId="{1E215674-DDB3-40FF-B836-35094D8596A4}" dt="2021-04-14T15:15:57.028" v="483"/>
          <ac:spMkLst>
            <pc:docMk/>
            <pc:sldMk cId="2715760571" sldId="311"/>
            <ac:spMk id="168" creationId="{2AF67F5E-BBDD-4393-993D-B576EF95024B}"/>
          </ac:spMkLst>
        </pc:spChg>
        <pc:spChg chg="del mod">
          <ac:chgData name="PROVENCHERE Sandrine" userId="ad1decff-d2ce-4d29-9d90-3591b80bc438" providerId="ADAL" clId="{1E215674-DDB3-40FF-B836-35094D8596A4}" dt="2021-04-14T15:15:57.034" v="487"/>
          <ac:spMkLst>
            <pc:docMk/>
            <pc:sldMk cId="2715760571" sldId="311"/>
            <ac:spMk id="169" creationId="{E986EA79-F9DE-465A-8C69-1FC9A106599D}"/>
          </ac:spMkLst>
        </pc:spChg>
        <pc:spChg chg="del mod topLvl">
          <ac:chgData name="PROVENCHERE Sandrine" userId="ad1decff-d2ce-4d29-9d90-3591b80bc438" providerId="ADAL" clId="{1E215674-DDB3-40FF-B836-35094D8596A4}" dt="2021-04-14T15:16:36.405" v="1519" actId="478"/>
          <ac:spMkLst>
            <pc:docMk/>
            <pc:sldMk cId="2715760571" sldId="311"/>
            <ac:spMk id="173" creationId="{C80D973F-B88B-4F0A-BFBC-29505195D6F4}"/>
          </ac:spMkLst>
        </pc:spChg>
        <pc:spChg chg="mod">
          <ac:chgData name="PROVENCHERE Sandrine" userId="ad1decff-d2ce-4d29-9d90-3591b80bc438" providerId="ADAL" clId="{1E215674-DDB3-40FF-B836-35094D8596A4}" dt="2021-04-14T15:29:00.207" v="7921"/>
          <ac:spMkLst>
            <pc:docMk/>
            <pc:sldMk cId="2715760571" sldId="311"/>
            <ac:spMk id="174" creationId="{030F21D3-A9A5-47DD-8F6A-1F8E23FCB6A2}"/>
          </ac:spMkLst>
        </pc:spChg>
        <pc:spChg chg="mod">
          <ac:chgData name="PROVENCHERE Sandrine" userId="ad1decff-d2ce-4d29-9d90-3591b80bc438" providerId="ADAL" clId="{1E215674-DDB3-40FF-B836-35094D8596A4}" dt="2021-04-14T15:29:00.167" v="7881"/>
          <ac:spMkLst>
            <pc:docMk/>
            <pc:sldMk cId="2715760571" sldId="311"/>
            <ac:spMk id="176" creationId="{D2CF20E8-6544-4F7C-B409-8CB742031E55}"/>
          </ac:spMkLst>
        </pc:spChg>
        <pc:spChg chg="mod">
          <ac:chgData name="PROVENCHERE Sandrine" userId="ad1decff-d2ce-4d29-9d90-3591b80bc438" providerId="ADAL" clId="{1E215674-DDB3-40FF-B836-35094D8596A4}" dt="2021-04-14T15:29:00.170" v="7883"/>
          <ac:spMkLst>
            <pc:docMk/>
            <pc:sldMk cId="2715760571" sldId="311"/>
            <ac:spMk id="177" creationId="{59E56C5E-C398-4AB8-9E25-9801882A83FD}"/>
          </ac:spMkLst>
        </pc:spChg>
        <pc:spChg chg="mod">
          <ac:chgData name="PROVENCHERE Sandrine" userId="ad1decff-d2ce-4d29-9d90-3591b80bc438" providerId="ADAL" clId="{1E215674-DDB3-40FF-B836-35094D8596A4}" dt="2021-04-14T15:29:00.165" v="7879"/>
          <ac:spMkLst>
            <pc:docMk/>
            <pc:sldMk cId="2715760571" sldId="311"/>
            <ac:spMk id="179" creationId="{8837CD83-9A90-4F1F-9C41-A9D386AE81A8}"/>
          </ac:spMkLst>
        </pc:spChg>
        <pc:spChg chg="mod">
          <ac:chgData name="PROVENCHERE Sandrine" userId="ad1decff-d2ce-4d29-9d90-3591b80bc438" providerId="ADAL" clId="{1E215674-DDB3-40FF-B836-35094D8596A4}" dt="2021-04-14T15:29:00.169" v="7882"/>
          <ac:spMkLst>
            <pc:docMk/>
            <pc:sldMk cId="2715760571" sldId="311"/>
            <ac:spMk id="180" creationId="{1F37C3BB-E3C2-482F-B5B4-7024EAC582E6}"/>
          </ac:spMkLst>
        </pc:spChg>
        <pc:spChg chg="mod">
          <ac:chgData name="PROVENCHERE Sandrine" userId="ad1decff-d2ce-4d29-9d90-3591b80bc438" providerId="ADAL" clId="{1E215674-DDB3-40FF-B836-35094D8596A4}" dt="2021-04-14T15:29:00.171" v="7884"/>
          <ac:spMkLst>
            <pc:docMk/>
            <pc:sldMk cId="2715760571" sldId="311"/>
            <ac:spMk id="181" creationId="{51768A0B-0C85-4FAE-9D46-00462015D554}"/>
          </ac:spMkLst>
        </pc:spChg>
        <pc:spChg chg="mod ord">
          <ac:chgData name="PROVENCHERE Sandrine" userId="ad1decff-d2ce-4d29-9d90-3591b80bc438" providerId="ADAL" clId="{1E215674-DDB3-40FF-B836-35094D8596A4}" dt="2021-04-14T15:29:00.241" v="7959"/>
          <ac:spMkLst>
            <pc:docMk/>
            <pc:sldMk cId="2715760571" sldId="311"/>
            <ac:spMk id="187" creationId="{2BBCB42D-7904-4000-802F-1AF38302679F}"/>
          </ac:spMkLst>
        </pc:spChg>
        <pc:spChg chg="mod ord">
          <ac:chgData name="PROVENCHERE Sandrine" userId="ad1decff-d2ce-4d29-9d90-3591b80bc438" providerId="ADAL" clId="{1E215674-DDB3-40FF-B836-35094D8596A4}" dt="2021-04-14T15:29:00.121" v="7825"/>
          <ac:spMkLst>
            <pc:docMk/>
            <pc:sldMk cId="2715760571" sldId="311"/>
            <ac:spMk id="188" creationId="{B233AC82-61AF-4922-9585-CDF930F28EA9}"/>
          </ac:spMkLst>
        </pc:spChg>
        <pc:spChg chg="mod">
          <ac:chgData name="PROVENCHERE Sandrine" userId="ad1decff-d2ce-4d29-9d90-3591b80bc438" providerId="ADAL" clId="{1E215674-DDB3-40FF-B836-35094D8596A4}" dt="2021-04-14T17:20:09.160" v="8838"/>
          <ac:spMkLst>
            <pc:docMk/>
            <pc:sldMk cId="2715760571" sldId="311"/>
            <ac:spMk id="189" creationId="{B01DB2A9-A92F-4586-831D-33B5896BCA5C}"/>
          </ac:spMkLst>
        </pc:spChg>
        <pc:spChg chg="mod">
          <ac:chgData name="PROVENCHERE Sandrine" userId="ad1decff-d2ce-4d29-9d90-3591b80bc438" providerId="ADAL" clId="{1E215674-DDB3-40FF-B836-35094D8596A4}" dt="2021-04-14T17:20:09.152" v="8835"/>
          <ac:spMkLst>
            <pc:docMk/>
            <pc:sldMk cId="2715760571" sldId="311"/>
            <ac:spMk id="190" creationId="{F5A2143A-6566-4A28-962A-36C5BC69439B}"/>
          </ac:spMkLst>
        </pc:spChg>
        <pc:spChg chg="mod">
          <ac:chgData name="PROVENCHERE Sandrine" userId="ad1decff-d2ce-4d29-9d90-3591b80bc438" providerId="ADAL" clId="{1E215674-DDB3-40FF-B836-35094D8596A4}" dt="2021-04-14T17:20:09.157" v="8837"/>
          <ac:spMkLst>
            <pc:docMk/>
            <pc:sldMk cId="2715760571" sldId="311"/>
            <ac:spMk id="191" creationId="{ACEBC4E5-6B0C-4744-BF37-FAFC6AC237BE}"/>
          </ac:spMkLst>
        </pc:spChg>
        <pc:spChg chg="mod">
          <ac:chgData name="PROVENCHERE Sandrine" userId="ad1decff-d2ce-4d29-9d90-3591b80bc438" providerId="ADAL" clId="{1E215674-DDB3-40FF-B836-35094D8596A4}" dt="2021-04-14T17:20:09.155" v="8836"/>
          <ac:spMkLst>
            <pc:docMk/>
            <pc:sldMk cId="2715760571" sldId="311"/>
            <ac:spMk id="192" creationId="{9F264F68-D439-43F3-A08D-DC68A263720D}"/>
          </ac:spMkLst>
        </pc:spChg>
        <pc:spChg chg="mod ord">
          <ac:chgData name="PROVENCHERE Sandrine" userId="ad1decff-d2ce-4d29-9d90-3591b80bc438" providerId="ADAL" clId="{1E215674-DDB3-40FF-B836-35094D8596A4}" dt="2021-04-14T15:29:00.275" v="8003"/>
          <ac:spMkLst>
            <pc:docMk/>
            <pc:sldMk cId="2715760571" sldId="311"/>
            <ac:spMk id="193" creationId="{7B7BA3D8-699D-46E4-809D-8C67089C0A5B}"/>
          </ac:spMkLst>
        </pc:spChg>
        <pc:spChg chg="mod ord">
          <ac:chgData name="PROVENCHERE Sandrine" userId="ad1decff-d2ce-4d29-9d90-3591b80bc438" providerId="ADAL" clId="{1E215674-DDB3-40FF-B836-35094D8596A4}" dt="2021-04-14T15:29:00.202" v="7916"/>
          <ac:spMkLst>
            <pc:docMk/>
            <pc:sldMk cId="2715760571" sldId="311"/>
            <ac:spMk id="194" creationId="{7D32F042-B726-4DD3-ACBE-B3D701BDD588}"/>
          </ac:spMkLst>
        </pc:spChg>
        <pc:spChg chg="mod ord">
          <ac:chgData name="PROVENCHERE Sandrine" userId="ad1decff-d2ce-4d29-9d90-3591b80bc438" providerId="ADAL" clId="{1E215674-DDB3-40FF-B836-35094D8596A4}" dt="2021-04-14T15:29:00.205" v="7919"/>
          <ac:spMkLst>
            <pc:docMk/>
            <pc:sldMk cId="2715760571" sldId="311"/>
            <ac:spMk id="195" creationId="{1381448B-C574-458B-AADA-5A9F20880E2A}"/>
          </ac:spMkLst>
        </pc:spChg>
        <pc:spChg chg="del mod">
          <ac:chgData name="PROVENCHERE Sandrine" userId="ad1decff-d2ce-4d29-9d90-3591b80bc438" providerId="ADAL" clId="{1E215674-DDB3-40FF-B836-35094D8596A4}" dt="2021-04-14T15:15:57.051" v="503"/>
          <ac:spMkLst>
            <pc:docMk/>
            <pc:sldMk cId="2715760571" sldId="311"/>
            <ac:spMk id="196" creationId="{77648DA8-2532-4F95-A2D5-43590911D6DB}"/>
          </ac:spMkLst>
        </pc:spChg>
        <pc:spChg chg="mod">
          <ac:chgData name="PROVENCHERE Sandrine" userId="ad1decff-d2ce-4d29-9d90-3591b80bc438" providerId="ADAL" clId="{1E215674-DDB3-40FF-B836-35094D8596A4}" dt="2021-04-14T15:29:00.192" v="7906"/>
          <ac:spMkLst>
            <pc:docMk/>
            <pc:sldMk cId="2715760571" sldId="311"/>
            <ac:spMk id="197" creationId="{913C834D-F168-40F4-BA8C-58E1D71EE07B}"/>
          </ac:spMkLst>
        </pc:spChg>
        <pc:spChg chg="mod">
          <ac:chgData name="PROVENCHERE Sandrine" userId="ad1decff-d2ce-4d29-9d90-3591b80bc438" providerId="ADAL" clId="{1E215674-DDB3-40FF-B836-35094D8596A4}" dt="2021-04-14T15:29:00.203" v="7917"/>
          <ac:spMkLst>
            <pc:docMk/>
            <pc:sldMk cId="2715760571" sldId="311"/>
            <ac:spMk id="198" creationId="{2CCDC18F-0248-43B2-92DE-CE2D93D2CAED}"/>
          </ac:spMkLst>
        </pc:spChg>
        <pc:spChg chg="add mod">
          <ac:chgData name="PROVENCHERE Sandrine" userId="ad1decff-d2ce-4d29-9d90-3591b80bc438" providerId="ADAL" clId="{1E215674-DDB3-40FF-B836-35094D8596A4}" dt="2021-04-14T15:29:00.177" v="7891"/>
          <ac:spMkLst>
            <pc:docMk/>
            <pc:sldMk cId="2715760571" sldId="311"/>
            <ac:spMk id="199" creationId="{D12FEA10-F966-47C4-B7BA-75D9F21C8E56}"/>
          </ac:spMkLst>
        </pc:spChg>
        <pc:spChg chg="del mod">
          <ac:chgData name="PROVENCHERE Sandrine" userId="ad1decff-d2ce-4d29-9d90-3591b80bc438" providerId="ADAL" clId="{1E215674-DDB3-40FF-B836-35094D8596A4}" dt="2021-04-14T15:16:02.444" v="850"/>
          <ac:spMkLst>
            <pc:docMk/>
            <pc:sldMk cId="2715760571" sldId="311"/>
            <ac:spMk id="201" creationId="{04114A5B-1EE5-4826-B6D8-D2B406861539}"/>
          </ac:spMkLst>
        </pc:spChg>
        <pc:spChg chg="add del mod ord">
          <ac:chgData name="PROVENCHERE Sandrine" userId="ad1decff-d2ce-4d29-9d90-3591b80bc438" providerId="ADAL" clId="{1E215674-DDB3-40FF-B836-35094D8596A4}" dt="2021-04-14T15:29:00.172" v="7886"/>
          <ac:spMkLst>
            <pc:docMk/>
            <pc:sldMk cId="2715760571" sldId="311"/>
            <ac:spMk id="202" creationId="{8600B5CB-3682-431D-BA2E-5F4BF6D2AD97}"/>
          </ac:spMkLst>
        </pc:spChg>
        <pc:spChg chg="mod">
          <ac:chgData name="PROVENCHERE Sandrine" userId="ad1decff-d2ce-4d29-9d90-3591b80bc438" providerId="ADAL" clId="{1E215674-DDB3-40FF-B836-35094D8596A4}" dt="2021-04-14T15:29:00.193" v="7907"/>
          <ac:spMkLst>
            <pc:docMk/>
            <pc:sldMk cId="2715760571" sldId="311"/>
            <ac:spMk id="203" creationId="{87874764-A1EE-46ED-B54D-4356361929F7}"/>
          </ac:spMkLst>
        </pc:spChg>
        <pc:spChg chg="mod">
          <ac:chgData name="PROVENCHERE Sandrine" userId="ad1decff-d2ce-4d29-9d90-3591b80bc438" providerId="ADAL" clId="{1E215674-DDB3-40FF-B836-35094D8596A4}" dt="2021-04-14T15:29:00.194" v="7908"/>
          <ac:spMkLst>
            <pc:docMk/>
            <pc:sldMk cId="2715760571" sldId="311"/>
            <ac:spMk id="204" creationId="{C5E64366-05A7-4DBC-A222-F27CF6D83D47}"/>
          </ac:spMkLst>
        </pc:spChg>
        <pc:spChg chg="mod">
          <ac:chgData name="PROVENCHERE Sandrine" userId="ad1decff-d2ce-4d29-9d90-3591b80bc438" providerId="ADAL" clId="{1E215674-DDB3-40FF-B836-35094D8596A4}" dt="2021-04-14T15:29:00.191" v="7905"/>
          <ac:spMkLst>
            <pc:docMk/>
            <pc:sldMk cId="2715760571" sldId="311"/>
            <ac:spMk id="205" creationId="{B2EA4C5B-B934-48AD-89B0-865EFBCF3336}"/>
          </ac:spMkLst>
        </pc:spChg>
        <pc:spChg chg="mod ord">
          <ac:chgData name="PROVENCHERE Sandrine" userId="ad1decff-d2ce-4d29-9d90-3591b80bc438" providerId="ADAL" clId="{1E215674-DDB3-40FF-B836-35094D8596A4}" dt="2021-04-14T15:29:00.276" v="8005"/>
          <ac:spMkLst>
            <pc:docMk/>
            <pc:sldMk cId="2715760571" sldId="311"/>
            <ac:spMk id="206" creationId="{157BCBAA-8D5A-4B20-A703-D44CEC7ACC46}"/>
          </ac:spMkLst>
        </pc:spChg>
        <pc:spChg chg="mod">
          <ac:chgData name="PROVENCHERE Sandrine" userId="ad1decff-d2ce-4d29-9d90-3591b80bc438" providerId="ADAL" clId="{1E215674-DDB3-40FF-B836-35094D8596A4}" dt="2021-04-14T15:29:00.199" v="7911"/>
          <ac:spMkLst>
            <pc:docMk/>
            <pc:sldMk cId="2715760571" sldId="311"/>
            <ac:spMk id="207" creationId="{A2CDCF67-B711-4268-8E61-45FC8FF89FAC}"/>
          </ac:spMkLst>
        </pc:spChg>
        <pc:spChg chg="mod">
          <ac:chgData name="PROVENCHERE Sandrine" userId="ad1decff-d2ce-4d29-9d90-3591b80bc438" providerId="ADAL" clId="{1E215674-DDB3-40FF-B836-35094D8596A4}" dt="2021-04-14T15:29:00.197" v="7910"/>
          <ac:spMkLst>
            <pc:docMk/>
            <pc:sldMk cId="2715760571" sldId="311"/>
            <ac:spMk id="208" creationId="{5B994944-A03C-4359-A908-BF6DED65B008}"/>
          </ac:spMkLst>
        </pc:spChg>
        <pc:spChg chg="mod">
          <ac:chgData name="PROVENCHERE Sandrine" userId="ad1decff-d2ce-4d29-9d90-3591b80bc438" providerId="ADAL" clId="{1E215674-DDB3-40FF-B836-35094D8596A4}" dt="2021-04-14T15:29:00.196" v="7909"/>
          <ac:spMkLst>
            <pc:docMk/>
            <pc:sldMk cId="2715760571" sldId="311"/>
            <ac:spMk id="209" creationId="{A8B28EDB-6ED8-4579-8290-518176A683A6}"/>
          </ac:spMkLst>
        </pc:spChg>
        <pc:spChg chg="mod">
          <ac:chgData name="PROVENCHERE Sandrine" userId="ad1decff-d2ce-4d29-9d90-3591b80bc438" providerId="ADAL" clId="{1E215674-DDB3-40FF-B836-35094D8596A4}" dt="2021-04-14T15:29:00.199" v="7912"/>
          <ac:spMkLst>
            <pc:docMk/>
            <pc:sldMk cId="2715760571" sldId="311"/>
            <ac:spMk id="210" creationId="{DAB6CB2B-E08A-4815-86A0-F45034590DC7}"/>
          </ac:spMkLst>
        </pc:spChg>
        <pc:spChg chg="mod ord">
          <ac:chgData name="PROVENCHERE Sandrine" userId="ad1decff-d2ce-4d29-9d90-3591b80bc438" providerId="ADAL" clId="{1E215674-DDB3-40FF-B836-35094D8596A4}" dt="2021-04-14T15:29:00.278" v="8007"/>
          <ac:spMkLst>
            <pc:docMk/>
            <pc:sldMk cId="2715760571" sldId="311"/>
            <ac:spMk id="211" creationId="{1529A971-253A-4069-AA3C-E8F2142DE640}"/>
          </ac:spMkLst>
        </pc:spChg>
        <pc:spChg chg="del mod">
          <ac:chgData name="PROVENCHERE Sandrine" userId="ad1decff-d2ce-4d29-9d90-3591b80bc438" providerId="ADAL" clId="{1E215674-DDB3-40FF-B836-35094D8596A4}" dt="2021-04-14T15:15:57.070" v="521"/>
          <ac:spMkLst>
            <pc:docMk/>
            <pc:sldMk cId="2715760571" sldId="311"/>
            <ac:spMk id="213" creationId="{DE2017A6-FF3E-422C-BECD-5414008BB6B8}"/>
          </ac:spMkLst>
        </pc:spChg>
        <pc:spChg chg="mod">
          <ac:chgData name="PROVENCHERE Sandrine" userId="ad1decff-d2ce-4d29-9d90-3591b80bc438" providerId="ADAL" clId="{1E215674-DDB3-40FF-B836-35094D8596A4}" dt="2021-04-14T17:20:09.169" v="8839"/>
          <ac:spMkLst>
            <pc:docMk/>
            <pc:sldMk cId="2715760571" sldId="311"/>
            <ac:spMk id="219" creationId="{1237313B-74C6-4A9C-BE55-54FA251AAA46}"/>
          </ac:spMkLst>
        </pc:spChg>
        <pc:spChg chg="mod">
          <ac:chgData name="PROVENCHERE Sandrine" userId="ad1decff-d2ce-4d29-9d90-3591b80bc438" providerId="ADAL" clId="{1E215674-DDB3-40FF-B836-35094D8596A4}" dt="2021-04-14T17:20:09.171" v="8840"/>
          <ac:spMkLst>
            <pc:docMk/>
            <pc:sldMk cId="2715760571" sldId="311"/>
            <ac:spMk id="220" creationId="{D9357BDD-CA71-4441-881F-B5695BCE28FB}"/>
          </ac:spMkLst>
        </pc:spChg>
        <pc:spChg chg="mod">
          <ac:chgData name="PROVENCHERE Sandrine" userId="ad1decff-d2ce-4d29-9d90-3591b80bc438" providerId="ADAL" clId="{1E215674-DDB3-40FF-B836-35094D8596A4}" dt="2021-04-14T17:20:09.175" v="8842"/>
          <ac:spMkLst>
            <pc:docMk/>
            <pc:sldMk cId="2715760571" sldId="311"/>
            <ac:spMk id="221" creationId="{124915EF-63E7-40CB-B698-47D47CF3DCCE}"/>
          </ac:spMkLst>
        </pc:spChg>
        <pc:spChg chg="mod">
          <ac:chgData name="PROVENCHERE Sandrine" userId="ad1decff-d2ce-4d29-9d90-3591b80bc438" providerId="ADAL" clId="{1E215674-DDB3-40FF-B836-35094D8596A4}" dt="2021-04-14T17:20:09.173" v="8841"/>
          <ac:spMkLst>
            <pc:docMk/>
            <pc:sldMk cId="2715760571" sldId="311"/>
            <ac:spMk id="222" creationId="{CFF557F7-830D-4248-9720-030560BFA261}"/>
          </ac:spMkLst>
        </pc:spChg>
        <pc:spChg chg="add del mod ord">
          <ac:chgData name="PROVENCHERE Sandrine" userId="ad1decff-d2ce-4d29-9d90-3591b80bc438" providerId="ADAL" clId="{1E215674-DDB3-40FF-B836-35094D8596A4}" dt="2021-04-14T15:29:00.175" v="7889"/>
          <ac:spMkLst>
            <pc:docMk/>
            <pc:sldMk cId="2715760571" sldId="311"/>
            <ac:spMk id="225" creationId="{7C69B050-26D8-48A8-8232-9F11ABE056BE}"/>
          </ac:spMkLst>
        </pc:spChg>
        <pc:spChg chg="mod ord">
          <ac:chgData name="PROVENCHERE Sandrine" userId="ad1decff-d2ce-4d29-9d90-3591b80bc438" providerId="ADAL" clId="{1E215674-DDB3-40FF-B836-35094D8596A4}" dt="2021-04-14T15:29:00.201" v="7914"/>
          <ac:spMkLst>
            <pc:docMk/>
            <pc:sldMk cId="2715760571" sldId="311"/>
            <ac:spMk id="228" creationId="{ECF43E62-00E7-41A2-8B16-9C26E45965C4}"/>
          </ac:spMkLst>
        </pc:spChg>
        <pc:spChg chg="add mod">
          <ac:chgData name="PROVENCHERE Sandrine" userId="ad1decff-d2ce-4d29-9d90-3591b80bc438" providerId="ADAL" clId="{1E215674-DDB3-40FF-B836-35094D8596A4}" dt="2021-04-14T15:29:00.210" v="7923"/>
          <ac:spMkLst>
            <pc:docMk/>
            <pc:sldMk cId="2715760571" sldId="311"/>
            <ac:spMk id="230" creationId="{CF8826F4-867C-4AD5-9C44-1ADE6129DDD9}"/>
          </ac:spMkLst>
        </pc:spChg>
        <pc:spChg chg="add del mod">
          <ac:chgData name="PROVENCHERE Sandrine" userId="ad1decff-d2ce-4d29-9d90-3591b80bc438" providerId="ADAL" clId="{1E215674-DDB3-40FF-B836-35094D8596A4}" dt="2021-04-14T15:16:03.342" v="1204"/>
          <ac:spMkLst>
            <pc:docMk/>
            <pc:sldMk cId="2715760571" sldId="311"/>
            <ac:spMk id="232" creationId="{79598DE2-23D5-4ED7-895D-DD8B15A89E92}"/>
          </ac:spMkLst>
        </pc:spChg>
        <pc:spChg chg="mod ord">
          <ac:chgData name="PROVENCHERE Sandrine" userId="ad1decff-d2ce-4d29-9d90-3591b80bc438" providerId="ADAL" clId="{1E215674-DDB3-40FF-B836-35094D8596A4}" dt="2021-04-14T15:29:00.285" v="8015"/>
          <ac:spMkLst>
            <pc:docMk/>
            <pc:sldMk cId="2715760571" sldId="311"/>
            <ac:spMk id="241" creationId="{60E0184D-3E44-45FF-8DCD-30320905649A}"/>
          </ac:spMkLst>
        </pc:spChg>
        <pc:spChg chg="mod ord">
          <ac:chgData name="PROVENCHERE Sandrine" userId="ad1decff-d2ce-4d29-9d90-3591b80bc438" providerId="ADAL" clId="{1E215674-DDB3-40FF-B836-35094D8596A4}" dt="2021-04-14T15:29:00.286" v="8017"/>
          <ac:spMkLst>
            <pc:docMk/>
            <pc:sldMk cId="2715760571" sldId="311"/>
            <ac:spMk id="242" creationId="{CDC85699-793F-4A70-B9B6-9D55CF5F68E1}"/>
          </ac:spMkLst>
        </pc:spChg>
        <pc:spChg chg="mod">
          <ac:chgData name="PROVENCHERE Sandrine" userId="ad1decff-d2ce-4d29-9d90-3591b80bc438" providerId="ADAL" clId="{1E215674-DDB3-40FF-B836-35094D8596A4}" dt="2021-04-14T15:29:00.129" v="7838"/>
          <ac:spMkLst>
            <pc:docMk/>
            <pc:sldMk cId="2715760571" sldId="311"/>
            <ac:spMk id="244" creationId="{44704398-683D-48B0-AC44-89855D366DAB}"/>
          </ac:spMkLst>
        </pc:spChg>
        <pc:spChg chg="mod ord">
          <ac:chgData name="PROVENCHERE Sandrine" userId="ad1decff-d2ce-4d29-9d90-3591b80bc438" providerId="ADAL" clId="{1E215674-DDB3-40FF-B836-35094D8596A4}" dt="2021-04-14T15:29:00.287" v="8019"/>
          <ac:spMkLst>
            <pc:docMk/>
            <pc:sldMk cId="2715760571" sldId="311"/>
            <ac:spMk id="247" creationId="{773A6194-CB64-46DA-B1B7-4472C2143038}"/>
          </ac:spMkLst>
        </pc:spChg>
        <pc:spChg chg="mod ord">
          <ac:chgData name="PROVENCHERE Sandrine" userId="ad1decff-d2ce-4d29-9d90-3591b80bc438" providerId="ADAL" clId="{1E215674-DDB3-40FF-B836-35094D8596A4}" dt="2021-04-14T15:29:00.135" v="7844"/>
          <ac:spMkLst>
            <pc:docMk/>
            <pc:sldMk cId="2715760571" sldId="311"/>
            <ac:spMk id="248" creationId="{D4A80F1B-4E5E-4901-A7A0-CABD12E65445}"/>
          </ac:spMkLst>
        </pc:spChg>
        <pc:spChg chg="add mod ord">
          <ac:chgData name="PROVENCHERE Sandrine" userId="ad1decff-d2ce-4d29-9d90-3591b80bc438" providerId="ADAL" clId="{1E215674-DDB3-40FF-B836-35094D8596A4}" dt="2021-04-14T15:29:00.295" v="8029"/>
          <ac:spMkLst>
            <pc:docMk/>
            <pc:sldMk cId="2715760571" sldId="311"/>
            <ac:spMk id="249" creationId="{40511A4B-2467-4218-8D74-C0FD91F1DF4F}"/>
          </ac:spMkLst>
        </pc:spChg>
        <pc:spChg chg="mod">
          <ac:chgData name="PROVENCHERE Sandrine" userId="ad1decff-d2ce-4d29-9d90-3591b80bc438" providerId="ADAL" clId="{1E215674-DDB3-40FF-B836-35094D8596A4}" dt="2021-04-14T15:29:00.128" v="7837"/>
          <ac:spMkLst>
            <pc:docMk/>
            <pc:sldMk cId="2715760571" sldId="311"/>
            <ac:spMk id="250" creationId="{310F3317-B6FE-436B-A317-50F2F752A604}"/>
          </ac:spMkLst>
        </pc:spChg>
        <pc:spChg chg="del mod topLvl">
          <ac:chgData name="PROVENCHERE Sandrine" userId="ad1decff-d2ce-4d29-9d90-3591b80bc438" providerId="ADAL" clId="{1E215674-DDB3-40FF-B836-35094D8596A4}" dt="2021-04-14T15:18:09.881" v="2092" actId="478"/>
          <ac:spMkLst>
            <pc:docMk/>
            <pc:sldMk cId="2715760571" sldId="311"/>
            <ac:spMk id="255" creationId="{E0E4614C-ABE5-4CB9-ABB5-8225DD57948C}"/>
          </ac:spMkLst>
        </pc:spChg>
        <pc:spChg chg="mod ord">
          <ac:chgData name="PROVENCHERE Sandrine" userId="ad1decff-d2ce-4d29-9d90-3591b80bc438" providerId="ADAL" clId="{1E215674-DDB3-40FF-B836-35094D8596A4}" dt="2021-04-14T15:29:00.103" v="7795"/>
          <ac:spMkLst>
            <pc:docMk/>
            <pc:sldMk cId="2715760571" sldId="311"/>
            <ac:spMk id="259" creationId="{23E859CE-D762-473B-A6A4-43916782E141}"/>
          </ac:spMkLst>
        </pc:spChg>
        <pc:spChg chg="mod ord">
          <ac:chgData name="PROVENCHERE Sandrine" userId="ad1decff-d2ce-4d29-9d90-3591b80bc438" providerId="ADAL" clId="{1E215674-DDB3-40FF-B836-35094D8596A4}" dt="2021-04-14T15:29:00.228" v="7943"/>
          <ac:spMkLst>
            <pc:docMk/>
            <pc:sldMk cId="2715760571" sldId="311"/>
            <ac:spMk id="260" creationId="{EC730ABB-01FC-4F7B-BC43-D750336F74D7}"/>
          </ac:spMkLst>
        </pc:spChg>
        <pc:spChg chg="mod ord">
          <ac:chgData name="PROVENCHERE Sandrine" userId="ad1decff-d2ce-4d29-9d90-3591b80bc438" providerId="ADAL" clId="{1E215674-DDB3-40FF-B836-35094D8596A4}" dt="2021-04-14T15:29:00.230" v="7945"/>
          <ac:spMkLst>
            <pc:docMk/>
            <pc:sldMk cId="2715760571" sldId="311"/>
            <ac:spMk id="261" creationId="{A10A4420-66C8-42DE-82D1-BEFFB2419C97}"/>
          </ac:spMkLst>
        </pc:spChg>
        <pc:spChg chg="mod ord">
          <ac:chgData name="PROVENCHERE Sandrine" userId="ad1decff-d2ce-4d29-9d90-3591b80bc438" providerId="ADAL" clId="{1E215674-DDB3-40FF-B836-35094D8596A4}" dt="2021-04-14T15:29:00.232" v="7947"/>
          <ac:spMkLst>
            <pc:docMk/>
            <pc:sldMk cId="2715760571" sldId="311"/>
            <ac:spMk id="262" creationId="{37A8C09C-710F-48E5-AF07-424C5D583BDF}"/>
          </ac:spMkLst>
        </pc:spChg>
        <pc:spChg chg="mod ord">
          <ac:chgData name="PROVENCHERE Sandrine" userId="ad1decff-d2ce-4d29-9d90-3591b80bc438" providerId="ADAL" clId="{1E215674-DDB3-40FF-B836-35094D8596A4}" dt="2021-04-14T15:29:00.234" v="7949"/>
          <ac:spMkLst>
            <pc:docMk/>
            <pc:sldMk cId="2715760571" sldId="311"/>
            <ac:spMk id="263" creationId="{54604176-CFA7-41D5-BE94-A3AE78B7F4C2}"/>
          </ac:spMkLst>
        </pc:spChg>
        <pc:spChg chg="mod ord">
          <ac:chgData name="PROVENCHERE Sandrine" userId="ad1decff-d2ce-4d29-9d90-3591b80bc438" providerId="ADAL" clId="{1E215674-DDB3-40FF-B836-35094D8596A4}" dt="2021-04-14T15:29:00.235" v="7951"/>
          <ac:spMkLst>
            <pc:docMk/>
            <pc:sldMk cId="2715760571" sldId="311"/>
            <ac:spMk id="264" creationId="{E165D15C-4633-4830-B94D-6C1F5067BE22}"/>
          </ac:spMkLst>
        </pc:spChg>
        <pc:spChg chg="mod ord">
          <ac:chgData name="PROVENCHERE Sandrine" userId="ad1decff-d2ce-4d29-9d90-3591b80bc438" providerId="ADAL" clId="{1E215674-DDB3-40FF-B836-35094D8596A4}" dt="2021-04-14T15:29:00.240" v="7957"/>
          <ac:spMkLst>
            <pc:docMk/>
            <pc:sldMk cId="2715760571" sldId="311"/>
            <ac:spMk id="268" creationId="{6A2D1725-9C14-496A-BCDA-9B2E63233BDD}"/>
          </ac:spMkLst>
        </pc:spChg>
        <pc:spChg chg="add mod">
          <ac:chgData name="PROVENCHERE Sandrine" userId="ad1decff-d2ce-4d29-9d90-3591b80bc438" providerId="ADAL" clId="{1E215674-DDB3-40FF-B836-35094D8596A4}" dt="2021-04-14T15:24:09.798" v="6621" actId="20577"/>
          <ac:spMkLst>
            <pc:docMk/>
            <pc:sldMk cId="2715760571" sldId="311"/>
            <ac:spMk id="269" creationId="{02A2E59E-EAD7-415F-8A69-9F39FFBB0A8E}"/>
          </ac:spMkLst>
        </pc:spChg>
        <pc:spChg chg="add mod">
          <ac:chgData name="PROVENCHERE Sandrine" userId="ad1decff-d2ce-4d29-9d90-3591b80bc438" providerId="ADAL" clId="{1E215674-DDB3-40FF-B836-35094D8596A4}" dt="2021-04-14T15:24:09.778" v="6570" actId="20577"/>
          <ac:spMkLst>
            <pc:docMk/>
            <pc:sldMk cId="2715760571" sldId="311"/>
            <ac:spMk id="270" creationId="{F4329E4A-DC4C-4E33-99EC-14FD8A9F05AF}"/>
          </ac:spMkLst>
        </pc:spChg>
        <pc:spChg chg="add mod">
          <ac:chgData name="PROVENCHERE Sandrine" userId="ad1decff-d2ce-4d29-9d90-3591b80bc438" providerId="ADAL" clId="{1E215674-DDB3-40FF-B836-35094D8596A4}" dt="2021-04-14T15:24:09.759" v="6526" actId="20577"/>
          <ac:spMkLst>
            <pc:docMk/>
            <pc:sldMk cId="2715760571" sldId="311"/>
            <ac:spMk id="271" creationId="{29CD6EA7-DFB5-478C-B891-F851D325E802}"/>
          </ac:spMkLst>
        </pc:spChg>
        <pc:spChg chg="add mod">
          <ac:chgData name="PROVENCHERE Sandrine" userId="ad1decff-d2ce-4d29-9d90-3591b80bc438" providerId="ADAL" clId="{1E215674-DDB3-40FF-B836-35094D8596A4}" dt="2021-04-14T15:24:09.740" v="6482" actId="20577"/>
          <ac:spMkLst>
            <pc:docMk/>
            <pc:sldMk cId="2715760571" sldId="311"/>
            <ac:spMk id="272" creationId="{2D0C3A71-459F-4C4B-97A6-E2E43659ADFC}"/>
          </ac:spMkLst>
        </pc:spChg>
        <pc:spChg chg="add mod">
          <ac:chgData name="PROVENCHERE Sandrine" userId="ad1decff-d2ce-4d29-9d90-3591b80bc438" providerId="ADAL" clId="{1E215674-DDB3-40FF-B836-35094D8596A4}" dt="2021-04-14T15:24:09.721" v="6441" actId="20577"/>
          <ac:spMkLst>
            <pc:docMk/>
            <pc:sldMk cId="2715760571" sldId="311"/>
            <ac:spMk id="273" creationId="{DE4A1E5B-6A14-46E0-B698-6C6D7DB4CD78}"/>
          </ac:spMkLst>
        </pc:spChg>
        <pc:spChg chg="add mod">
          <ac:chgData name="PROVENCHERE Sandrine" userId="ad1decff-d2ce-4d29-9d90-3591b80bc438" providerId="ADAL" clId="{1E215674-DDB3-40FF-B836-35094D8596A4}" dt="2021-04-14T15:24:09.697" v="6397" actId="20577"/>
          <ac:spMkLst>
            <pc:docMk/>
            <pc:sldMk cId="2715760571" sldId="311"/>
            <ac:spMk id="274" creationId="{D2F8158D-229F-4762-9B26-5514D67FA879}"/>
          </ac:spMkLst>
        </pc:spChg>
        <pc:spChg chg="add mod">
          <ac:chgData name="PROVENCHERE Sandrine" userId="ad1decff-d2ce-4d29-9d90-3591b80bc438" providerId="ADAL" clId="{1E215674-DDB3-40FF-B836-35094D8596A4}" dt="2021-04-14T15:24:09.677" v="6356" actId="20577"/>
          <ac:spMkLst>
            <pc:docMk/>
            <pc:sldMk cId="2715760571" sldId="311"/>
            <ac:spMk id="275" creationId="{0C0F640F-EFA2-485C-A6A5-BC662A31E4A1}"/>
          </ac:spMkLst>
        </pc:spChg>
        <pc:spChg chg="mod ord">
          <ac:chgData name="PROVENCHERE Sandrine" userId="ad1decff-d2ce-4d29-9d90-3591b80bc438" providerId="ADAL" clId="{1E215674-DDB3-40FF-B836-35094D8596A4}" dt="2021-04-14T15:29:00.245" v="7963"/>
          <ac:spMkLst>
            <pc:docMk/>
            <pc:sldMk cId="2715760571" sldId="311"/>
            <ac:spMk id="276" creationId="{F0E35A8C-6FA8-4F3C-8269-002FD9ACF97E}"/>
          </ac:spMkLst>
        </pc:spChg>
        <pc:spChg chg="mod ord">
          <ac:chgData name="PROVENCHERE Sandrine" userId="ad1decff-d2ce-4d29-9d90-3591b80bc438" providerId="ADAL" clId="{1E215674-DDB3-40FF-B836-35094D8596A4}" dt="2021-04-14T15:29:00.247" v="7965"/>
          <ac:spMkLst>
            <pc:docMk/>
            <pc:sldMk cId="2715760571" sldId="311"/>
            <ac:spMk id="277" creationId="{5FC510A5-37A9-4F76-974D-7679B28FABBD}"/>
          </ac:spMkLst>
        </pc:spChg>
        <pc:spChg chg="mod ord">
          <ac:chgData name="PROVENCHERE Sandrine" userId="ad1decff-d2ce-4d29-9d90-3591b80bc438" providerId="ADAL" clId="{1E215674-DDB3-40FF-B836-35094D8596A4}" dt="2021-04-14T15:29:00.248" v="7967"/>
          <ac:spMkLst>
            <pc:docMk/>
            <pc:sldMk cId="2715760571" sldId="311"/>
            <ac:spMk id="278" creationId="{EC78708A-7225-4B28-BF64-1C278245839A}"/>
          </ac:spMkLst>
        </pc:spChg>
        <pc:spChg chg="add mod">
          <ac:chgData name="PROVENCHERE Sandrine" userId="ad1decff-d2ce-4d29-9d90-3591b80bc438" providerId="ADAL" clId="{1E215674-DDB3-40FF-B836-35094D8596A4}" dt="2021-04-14T15:24:09.655" v="6312" actId="20577"/>
          <ac:spMkLst>
            <pc:docMk/>
            <pc:sldMk cId="2715760571" sldId="311"/>
            <ac:spMk id="280" creationId="{E8D2B615-BF13-4073-B52D-A8D1AC48B404}"/>
          </ac:spMkLst>
        </pc:spChg>
        <pc:spChg chg="add mod ord">
          <ac:chgData name="PROVENCHERE Sandrine" userId="ad1decff-d2ce-4d29-9d90-3591b80bc438" providerId="ADAL" clId="{1E215674-DDB3-40FF-B836-35094D8596A4}" dt="2021-04-14T15:24:09.636" v="6271" actId="20577"/>
          <ac:spMkLst>
            <pc:docMk/>
            <pc:sldMk cId="2715760571" sldId="311"/>
            <ac:spMk id="281" creationId="{5A8AB586-F9A5-471E-8532-8F3B36ADD586}"/>
          </ac:spMkLst>
        </pc:spChg>
        <pc:spChg chg="add mod">
          <ac:chgData name="PROVENCHERE Sandrine" userId="ad1decff-d2ce-4d29-9d90-3591b80bc438" providerId="ADAL" clId="{1E215674-DDB3-40FF-B836-35094D8596A4}" dt="2021-04-14T15:24:09.620" v="6230" actId="20577"/>
          <ac:spMkLst>
            <pc:docMk/>
            <pc:sldMk cId="2715760571" sldId="311"/>
            <ac:spMk id="282" creationId="{EE0E24DC-E899-4F9A-B44C-91B5D0DFC24D}"/>
          </ac:spMkLst>
        </pc:spChg>
        <pc:spChg chg="add mod ord">
          <ac:chgData name="PROVENCHERE Sandrine" userId="ad1decff-d2ce-4d29-9d90-3591b80bc438" providerId="ADAL" clId="{1E215674-DDB3-40FF-B836-35094D8596A4}" dt="2021-04-14T15:24:09.602" v="6186" actId="20577"/>
          <ac:spMkLst>
            <pc:docMk/>
            <pc:sldMk cId="2715760571" sldId="311"/>
            <ac:spMk id="283" creationId="{67879E4C-B10D-40A9-ACEC-19F462AEA11D}"/>
          </ac:spMkLst>
        </pc:spChg>
        <pc:spChg chg="add mod">
          <ac:chgData name="PROVENCHERE Sandrine" userId="ad1decff-d2ce-4d29-9d90-3591b80bc438" providerId="ADAL" clId="{1E215674-DDB3-40FF-B836-35094D8596A4}" dt="2021-04-14T15:24:09.584" v="6143" actId="20577"/>
          <ac:spMkLst>
            <pc:docMk/>
            <pc:sldMk cId="2715760571" sldId="311"/>
            <ac:spMk id="284" creationId="{9377EAC9-5882-4DC7-9C91-EAD324345D40}"/>
          </ac:spMkLst>
        </pc:spChg>
        <pc:spChg chg="add mod ord">
          <ac:chgData name="PROVENCHERE Sandrine" userId="ad1decff-d2ce-4d29-9d90-3591b80bc438" providerId="ADAL" clId="{1E215674-DDB3-40FF-B836-35094D8596A4}" dt="2021-04-14T15:24:09.567" v="6099" actId="20577"/>
          <ac:spMkLst>
            <pc:docMk/>
            <pc:sldMk cId="2715760571" sldId="311"/>
            <ac:spMk id="285" creationId="{18A33B96-BCD1-4AA1-A4FB-481BB158BC8F}"/>
          </ac:spMkLst>
        </pc:spChg>
        <pc:spChg chg="add mod">
          <ac:chgData name="PROVENCHERE Sandrine" userId="ad1decff-d2ce-4d29-9d90-3591b80bc438" providerId="ADAL" clId="{1E215674-DDB3-40FF-B836-35094D8596A4}" dt="2021-04-14T15:24:09.550" v="6056" actId="20577"/>
          <ac:spMkLst>
            <pc:docMk/>
            <pc:sldMk cId="2715760571" sldId="311"/>
            <ac:spMk id="287" creationId="{38A4955C-78D5-4BC5-9357-4218209A8DFB}"/>
          </ac:spMkLst>
        </pc:spChg>
        <pc:spChg chg="add mod">
          <ac:chgData name="PROVENCHERE Sandrine" userId="ad1decff-d2ce-4d29-9d90-3591b80bc438" providerId="ADAL" clId="{1E215674-DDB3-40FF-B836-35094D8596A4}" dt="2021-04-14T15:24:09.533" v="6012" actId="20577"/>
          <ac:spMkLst>
            <pc:docMk/>
            <pc:sldMk cId="2715760571" sldId="311"/>
            <ac:spMk id="290" creationId="{344AB14D-C608-4A4A-87B9-9C79433D0220}"/>
          </ac:spMkLst>
        </pc:spChg>
        <pc:spChg chg="add mod ord">
          <ac:chgData name="PROVENCHERE Sandrine" userId="ad1decff-d2ce-4d29-9d90-3591b80bc438" providerId="ADAL" clId="{1E215674-DDB3-40FF-B836-35094D8596A4}" dt="2021-04-14T15:24:09.514" v="5968" actId="20577"/>
          <ac:spMkLst>
            <pc:docMk/>
            <pc:sldMk cId="2715760571" sldId="311"/>
            <ac:spMk id="296" creationId="{764277AC-3590-488C-B978-07BDBAC42B85}"/>
          </ac:spMkLst>
        </pc:spChg>
        <pc:spChg chg="add mod">
          <ac:chgData name="PROVENCHERE Sandrine" userId="ad1decff-d2ce-4d29-9d90-3591b80bc438" providerId="ADAL" clId="{1E215674-DDB3-40FF-B836-35094D8596A4}" dt="2021-04-14T15:24:09.496" v="5927" actId="20577"/>
          <ac:spMkLst>
            <pc:docMk/>
            <pc:sldMk cId="2715760571" sldId="311"/>
            <ac:spMk id="297" creationId="{D3942D0A-699D-4E89-84DF-4756E619CC74}"/>
          </ac:spMkLst>
        </pc:spChg>
        <pc:spChg chg="add mod ord">
          <ac:chgData name="PROVENCHERE Sandrine" userId="ad1decff-d2ce-4d29-9d90-3591b80bc438" providerId="ADAL" clId="{1E215674-DDB3-40FF-B836-35094D8596A4}" dt="2021-04-14T15:24:09.470" v="5883" actId="20577"/>
          <ac:spMkLst>
            <pc:docMk/>
            <pc:sldMk cId="2715760571" sldId="311"/>
            <ac:spMk id="298" creationId="{EF1955EB-72AD-4D5C-BE64-AAE3E3E4BD73}"/>
          </ac:spMkLst>
        </pc:spChg>
        <pc:spChg chg="add mod">
          <ac:chgData name="PROVENCHERE Sandrine" userId="ad1decff-d2ce-4d29-9d90-3591b80bc438" providerId="ADAL" clId="{1E215674-DDB3-40FF-B836-35094D8596A4}" dt="2021-04-14T15:24:09.443" v="5840" actId="20577"/>
          <ac:spMkLst>
            <pc:docMk/>
            <pc:sldMk cId="2715760571" sldId="311"/>
            <ac:spMk id="299" creationId="{46AD07D3-391F-48D8-891B-FE791E685DF9}"/>
          </ac:spMkLst>
        </pc:spChg>
        <pc:spChg chg="add mod">
          <ac:chgData name="PROVENCHERE Sandrine" userId="ad1decff-d2ce-4d29-9d90-3591b80bc438" providerId="ADAL" clId="{1E215674-DDB3-40FF-B836-35094D8596A4}" dt="2021-04-14T15:24:09.417" v="5796" actId="20577"/>
          <ac:spMkLst>
            <pc:docMk/>
            <pc:sldMk cId="2715760571" sldId="311"/>
            <ac:spMk id="300" creationId="{B84E9C9C-61F3-46FC-84A7-BCEB6E6FB6AD}"/>
          </ac:spMkLst>
        </pc:spChg>
        <pc:spChg chg="mod ord">
          <ac:chgData name="PROVENCHERE Sandrine" userId="ad1decff-d2ce-4d29-9d90-3591b80bc438" providerId="ADAL" clId="{1E215674-DDB3-40FF-B836-35094D8596A4}" dt="2021-04-14T15:29:00.144" v="7859"/>
          <ac:spMkLst>
            <pc:docMk/>
            <pc:sldMk cId="2715760571" sldId="311"/>
            <ac:spMk id="301" creationId="{0E222F4E-57D0-4A60-83DA-DF2D46BDC957}"/>
          </ac:spMkLst>
        </pc:spChg>
        <pc:spChg chg="mod">
          <ac:chgData name="PROVENCHERE Sandrine" userId="ad1decff-d2ce-4d29-9d90-3591b80bc438" providerId="ADAL" clId="{1E215674-DDB3-40FF-B836-35094D8596A4}" dt="2021-04-14T15:29:00.145" v="7860"/>
          <ac:spMkLst>
            <pc:docMk/>
            <pc:sldMk cId="2715760571" sldId="311"/>
            <ac:spMk id="302" creationId="{792B99E9-7506-47FC-9BA8-9F1C2F6839B9}"/>
          </ac:spMkLst>
        </pc:spChg>
        <pc:spChg chg="mod ord">
          <ac:chgData name="PROVENCHERE Sandrine" userId="ad1decff-d2ce-4d29-9d90-3591b80bc438" providerId="ADAL" clId="{1E215674-DDB3-40FF-B836-35094D8596A4}" dt="2021-04-14T15:29:00.147" v="7863"/>
          <ac:spMkLst>
            <pc:docMk/>
            <pc:sldMk cId="2715760571" sldId="311"/>
            <ac:spMk id="303" creationId="{E8D5E44D-9F6F-4591-A128-D45FEBB91CCE}"/>
          </ac:spMkLst>
        </pc:spChg>
        <pc:spChg chg="mod ord">
          <ac:chgData name="PROVENCHERE Sandrine" userId="ad1decff-d2ce-4d29-9d90-3591b80bc438" providerId="ADAL" clId="{1E215674-DDB3-40FF-B836-35094D8596A4}" dt="2021-04-14T15:29:00.152" v="7867"/>
          <ac:spMkLst>
            <pc:docMk/>
            <pc:sldMk cId="2715760571" sldId="311"/>
            <ac:spMk id="304" creationId="{4A8310BC-D557-409B-902F-54798E9EA84E}"/>
          </ac:spMkLst>
        </pc:spChg>
        <pc:spChg chg="add mod">
          <ac:chgData name="PROVENCHERE Sandrine" userId="ad1decff-d2ce-4d29-9d90-3591b80bc438" providerId="ADAL" clId="{1E215674-DDB3-40FF-B836-35094D8596A4}" dt="2021-04-14T15:24:09.399" v="5752" actId="20577"/>
          <ac:spMkLst>
            <pc:docMk/>
            <pc:sldMk cId="2715760571" sldId="311"/>
            <ac:spMk id="305" creationId="{036C370C-5DDB-4E17-ACAB-F927B244945B}"/>
          </ac:spMkLst>
        </pc:spChg>
        <pc:spChg chg="add mod">
          <ac:chgData name="PROVENCHERE Sandrine" userId="ad1decff-d2ce-4d29-9d90-3591b80bc438" providerId="ADAL" clId="{1E215674-DDB3-40FF-B836-35094D8596A4}" dt="2021-04-14T15:24:09.381" v="5711" actId="20577"/>
          <ac:spMkLst>
            <pc:docMk/>
            <pc:sldMk cId="2715760571" sldId="311"/>
            <ac:spMk id="306" creationId="{BB29D240-9E7C-4DE2-9077-41ED624B60AA}"/>
          </ac:spMkLst>
        </pc:spChg>
        <pc:spChg chg="add mod">
          <ac:chgData name="PROVENCHERE Sandrine" userId="ad1decff-d2ce-4d29-9d90-3591b80bc438" providerId="ADAL" clId="{1E215674-DDB3-40FF-B836-35094D8596A4}" dt="2021-04-14T15:24:09.362" v="5667" actId="20577"/>
          <ac:spMkLst>
            <pc:docMk/>
            <pc:sldMk cId="2715760571" sldId="311"/>
            <ac:spMk id="307" creationId="{638D5E67-D8B9-42EE-8FDF-46615881B802}"/>
          </ac:spMkLst>
        </pc:spChg>
        <pc:spChg chg="add mod ord">
          <ac:chgData name="PROVENCHERE Sandrine" userId="ad1decff-d2ce-4d29-9d90-3591b80bc438" providerId="ADAL" clId="{1E215674-DDB3-40FF-B836-35094D8596A4}" dt="2021-04-14T15:24:09.346" v="5626" actId="20577"/>
          <ac:spMkLst>
            <pc:docMk/>
            <pc:sldMk cId="2715760571" sldId="311"/>
            <ac:spMk id="308" creationId="{A053ED28-5FF2-4C0C-902D-0D365CB94934}"/>
          </ac:spMkLst>
        </pc:spChg>
        <pc:spChg chg="add mod">
          <ac:chgData name="PROVENCHERE Sandrine" userId="ad1decff-d2ce-4d29-9d90-3591b80bc438" providerId="ADAL" clId="{1E215674-DDB3-40FF-B836-35094D8596A4}" dt="2021-04-14T15:24:09.328" v="5585" actId="20577"/>
          <ac:spMkLst>
            <pc:docMk/>
            <pc:sldMk cId="2715760571" sldId="311"/>
            <ac:spMk id="309" creationId="{0C4B593C-0D26-4CE6-945A-BEC220D1C3F6}"/>
          </ac:spMkLst>
        </pc:spChg>
        <pc:spChg chg="mod">
          <ac:chgData name="PROVENCHERE Sandrine" userId="ad1decff-d2ce-4d29-9d90-3591b80bc438" providerId="ADAL" clId="{1E215674-DDB3-40FF-B836-35094D8596A4}" dt="2021-04-14T15:29:00.130" v="7839"/>
          <ac:spMkLst>
            <pc:docMk/>
            <pc:sldMk cId="2715760571" sldId="311"/>
            <ac:spMk id="318" creationId="{3FD2B578-1CA5-4839-9017-7E3EC6256711}"/>
          </ac:spMkLst>
        </pc:spChg>
        <pc:spChg chg="mod">
          <ac:chgData name="PROVENCHERE Sandrine" userId="ad1decff-d2ce-4d29-9d90-3591b80bc438" providerId="ADAL" clId="{1E215674-DDB3-40FF-B836-35094D8596A4}" dt="2021-04-14T15:29:00.132" v="7841"/>
          <ac:spMkLst>
            <pc:docMk/>
            <pc:sldMk cId="2715760571" sldId="311"/>
            <ac:spMk id="321" creationId="{24A04A89-1568-403D-97E2-65DAF015C362}"/>
          </ac:spMkLst>
        </pc:spChg>
        <pc:spChg chg="mod">
          <ac:chgData name="PROVENCHERE Sandrine" userId="ad1decff-d2ce-4d29-9d90-3591b80bc438" providerId="ADAL" clId="{1E215674-DDB3-40FF-B836-35094D8596A4}" dt="2021-04-14T15:29:00.134" v="7842"/>
          <ac:spMkLst>
            <pc:docMk/>
            <pc:sldMk cId="2715760571" sldId="311"/>
            <ac:spMk id="323" creationId="{5FAD09DC-1BCC-466C-A83F-7F46577C368B}"/>
          </ac:spMkLst>
        </pc:spChg>
        <pc:spChg chg="mod">
          <ac:chgData name="PROVENCHERE Sandrine" userId="ad1decff-d2ce-4d29-9d90-3591b80bc438" providerId="ADAL" clId="{1E215674-DDB3-40FF-B836-35094D8596A4}" dt="2021-04-14T15:29:00.131" v="7840"/>
          <ac:spMkLst>
            <pc:docMk/>
            <pc:sldMk cId="2715760571" sldId="311"/>
            <ac:spMk id="325" creationId="{9AC11AB8-6836-4499-9807-52E88DB1F8D9}"/>
          </ac:spMkLst>
        </pc:spChg>
        <pc:spChg chg="mod">
          <ac:chgData name="PROVENCHERE Sandrine" userId="ad1decff-d2ce-4d29-9d90-3591b80bc438" providerId="ADAL" clId="{1E215674-DDB3-40FF-B836-35094D8596A4}" dt="2021-04-14T15:29:00.149" v="7864"/>
          <ac:spMkLst>
            <pc:docMk/>
            <pc:sldMk cId="2715760571" sldId="311"/>
            <ac:spMk id="337" creationId="{E17B4A14-0DC6-4748-9AB0-76BA63D43833}"/>
          </ac:spMkLst>
        </pc:spChg>
        <pc:spChg chg="mod">
          <ac:chgData name="PROVENCHERE Sandrine" userId="ad1decff-d2ce-4d29-9d90-3591b80bc438" providerId="ADAL" clId="{1E215674-DDB3-40FF-B836-35094D8596A4}" dt="2021-04-14T15:29:00.151" v="7865"/>
          <ac:spMkLst>
            <pc:docMk/>
            <pc:sldMk cId="2715760571" sldId="311"/>
            <ac:spMk id="350" creationId="{7C573944-9D35-4E24-908D-AB871EB87F6B}"/>
          </ac:spMkLst>
        </pc:spChg>
        <pc:spChg chg="mod">
          <ac:chgData name="PROVENCHERE Sandrine" userId="ad1decff-d2ce-4d29-9d90-3591b80bc438" providerId="ADAL" clId="{1E215674-DDB3-40FF-B836-35094D8596A4}" dt="2021-04-14T15:29:00.153" v="7868"/>
          <ac:spMkLst>
            <pc:docMk/>
            <pc:sldMk cId="2715760571" sldId="311"/>
            <ac:spMk id="352" creationId="{3457CB0F-B3D8-40D5-91D2-4F9AE7D78E86}"/>
          </ac:spMkLst>
        </pc:spChg>
        <pc:spChg chg="mod ord">
          <ac:chgData name="PROVENCHERE Sandrine" userId="ad1decff-d2ce-4d29-9d90-3591b80bc438" providerId="ADAL" clId="{1E215674-DDB3-40FF-B836-35094D8596A4}" dt="2021-04-14T15:29:00.255" v="7975"/>
          <ac:spMkLst>
            <pc:docMk/>
            <pc:sldMk cId="2715760571" sldId="311"/>
            <ac:spMk id="355" creationId="{C1E61069-C8CA-4019-A975-62D182A8B9CC}"/>
          </ac:spMkLst>
        </pc:spChg>
        <pc:spChg chg="mod">
          <ac:chgData name="PROVENCHERE Sandrine" userId="ad1decff-d2ce-4d29-9d90-3591b80bc438" providerId="ADAL" clId="{1E215674-DDB3-40FF-B836-35094D8596A4}" dt="2021-04-14T15:29:00.146" v="7861"/>
          <ac:spMkLst>
            <pc:docMk/>
            <pc:sldMk cId="2715760571" sldId="311"/>
            <ac:spMk id="356" creationId="{D8C455AB-39E6-4CB4-BA75-E5C956AA5BD6}"/>
          </ac:spMkLst>
        </pc:spChg>
        <pc:spChg chg="mod ord">
          <ac:chgData name="PROVENCHERE Sandrine" userId="ad1decff-d2ce-4d29-9d90-3591b80bc438" providerId="ADAL" clId="{1E215674-DDB3-40FF-B836-35094D8596A4}" dt="2021-04-14T15:30:28.883" v="8054" actId="207"/>
          <ac:spMkLst>
            <pc:docMk/>
            <pc:sldMk cId="2715760571" sldId="311"/>
            <ac:spMk id="357" creationId="{4250E03D-4363-4E0A-85E5-48B3FEE56E02}"/>
          </ac:spMkLst>
        </pc:spChg>
        <pc:spChg chg="mod ord">
          <ac:chgData name="PROVENCHERE Sandrine" userId="ad1decff-d2ce-4d29-9d90-3591b80bc438" providerId="ADAL" clId="{1E215674-DDB3-40FF-B836-35094D8596A4}" dt="2021-04-14T15:30:28.883" v="8054" actId="207"/>
          <ac:spMkLst>
            <pc:docMk/>
            <pc:sldMk cId="2715760571" sldId="311"/>
            <ac:spMk id="358" creationId="{9C34914F-1284-4D25-9932-A77D91B995E9}"/>
          </ac:spMkLst>
        </pc:spChg>
        <pc:spChg chg="mod ord">
          <ac:chgData name="PROVENCHERE Sandrine" userId="ad1decff-d2ce-4d29-9d90-3591b80bc438" providerId="ADAL" clId="{1E215674-DDB3-40FF-B836-35094D8596A4}" dt="2021-04-14T17:01:32.923" v="8069" actId="207"/>
          <ac:spMkLst>
            <pc:docMk/>
            <pc:sldMk cId="2715760571" sldId="311"/>
            <ac:spMk id="359" creationId="{B17A55F9-3C90-4D02-B1A7-69898512B1A2}"/>
          </ac:spMkLst>
        </pc:spChg>
        <pc:spChg chg="mod ord">
          <ac:chgData name="PROVENCHERE Sandrine" userId="ad1decff-d2ce-4d29-9d90-3591b80bc438" providerId="ADAL" clId="{1E215674-DDB3-40FF-B836-35094D8596A4}" dt="2021-04-14T17:00:25.727" v="8060" actId="20577"/>
          <ac:spMkLst>
            <pc:docMk/>
            <pc:sldMk cId="2715760571" sldId="311"/>
            <ac:spMk id="360" creationId="{19196A2D-C978-4BD8-9E36-35CF1698960A}"/>
          </ac:spMkLst>
        </pc:spChg>
        <pc:spChg chg="mod ord">
          <ac:chgData name="PROVENCHERE Sandrine" userId="ad1decff-d2ce-4d29-9d90-3591b80bc438" providerId="ADAL" clId="{1E215674-DDB3-40FF-B836-35094D8596A4}" dt="2021-04-14T17:01:27.369" v="8068" actId="207"/>
          <ac:spMkLst>
            <pc:docMk/>
            <pc:sldMk cId="2715760571" sldId="311"/>
            <ac:spMk id="361" creationId="{F5E423ED-6FCC-414B-84A6-82A4C6F9788A}"/>
          </ac:spMkLst>
        </pc:spChg>
        <pc:spChg chg="mod ord">
          <ac:chgData name="PROVENCHERE Sandrine" userId="ad1decff-d2ce-4d29-9d90-3591b80bc438" providerId="ADAL" clId="{1E215674-DDB3-40FF-B836-35094D8596A4}" dt="2021-04-14T15:29:00.263" v="7987"/>
          <ac:spMkLst>
            <pc:docMk/>
            <pc:sldMk cId="2715760571" sldId="311"/>
            <ac:spMk id="362" creationId="{A6114E1E-91F5-478D-949C-061199671015}"/>
          </ac:spMkLst>
        </pc:spChg>
        <pc:spChg chg="mod ord">
          <ac:chgData name="PROVENCHERE Sandrine" userId="ad1decff-d2ce-4d29-9d90-3591b80bc438" providerId="ADAL" clId="{1E215674-DDB3-40FF-B836-35094D8596A4}" dt="2021-04-14T17:01:14.775" v="8065" actId="207"/>
          <ac:spMkLst>
            <pc:docMk/>
            <pc:sldMk cId="2715760571" sldId="311"/>
            <ac:spMk id="363" creationId="{1EE6DD91-8F5D-4718-8FF9-03E431B13210}"/>
          </ac:spMkLst>
        </pc:spChg>
        <pc:spChg chg="mod ord">
          <ac:chgData name="PROVENCHERE Sandrine" userId="ad1decff-d2ce-4d29-9d90-3591b80bc438" providerId="ADAL" clId="{1E215674-DDB3-40FF-B836-35094D8596A4}" dt="2021-04-14T17:00:54.407" v="8063" actId="20577"/>
          <ac:spMkLst>
            <pc:docMk/>
            <pc:sldMk cId="2715760571" sldId="311"/>
            <ac:spMk id="364" creationId="{A74B8A5E-C0E5-4919-BF72-E9ADB9693DF2}"/>
          </ac:spMkLst>
        </pc:spChg>
        <pc:spChg chg="mod ord">
          <ac:chgData name="PROVENCHERE Sandrine" userId="ad1decff-d2ce-4d29-9d90-3591b80bc438" providerId="ADAL" clId="{1E215674-DDB3-40FF-B836-35094D8596A4}" dt="2021-04-14T17:01:05.666" v="8064" actId="20577"/>
          <ac:spMkLst>
            <pc:docMk/>
            <pc:sldMk cId="2715760571" sldId="311"/>
            <ac:spMk id="365" creationId="{7950B871-6B59-452A-B8F1-129A33AC9478}"/>
          </ac:spMkLst>
        </pc:spChg>
        <pc:spChg chg="mod ord">
          <ac:chgData name="PROVENCHERE Sandrine" userId="ad1decff-d2ce-4d29-9d90-3591b80bc438" providerId="ADAL" clId="{1E215674-DDB3-40FF-B836-35094D8596A4}" dt="2021-04-14T15:30:28.883" v="8054" actId="207"/>
          <ac:spMkLst>
            <pc:docMk/>
            <pc:sldMk cId="2715760571" sldId="311"/>
            <ac:spMk id="366" creationId="{886E17A4-5421-4A86-A1AE-1A457E232E50}"/>
          </ac:spMkLst>
        </pc:spChg>
        <pc:spChg chg="del mod ord">
          <ac:chgData name="PROVENCHERE Sandrine" userId="ad1decff-d2ce-4d29-9d90-3591b80bc438" providerId="ADAL" clId="{1E215674-DDB3-40FF-B836-35094D8596A4}" dt="2021-04-14T15:28:54.709" v="7330"/>
          <ac:spMkLst>
            <pc:docMk/>
            <pc:sldMk cId="2715760571" sldId="311"/>
            <ac:spMk id="400" creationId="{A7901F7A-9CCF-437B-9585-1328803F79A0}"/>
          </ac:spMkLst>
        </pc:spChg>
        <pc:spChg chg="mod">
          <ac:chgData name="PROVENCHERE Sandrine" userId="ad1decff-d2ce-4d29-9d90-3591b80bc438" providerId="ADAL" clId="{1E215674-DDB3-40FF-B836-35094D8596A4}" dt="2021-04-14T15:29:00.155" v="7869"/>
          <ac:spMkLst>
            <pc:docMk/>
            <pc:sldMk cId="2715760571" sldId="311"/>
            <ac:spMk id="412" creationId="{F0D1334D-247F-479D-841F-3855BCAF0A42}"/>
          </ac:spMkLst>
        </pc:spChg>
        <pc:spChg chg="mod ord">
          <ac:chgData name="PROVENCHERE Sandrine" userId="ad1decff-d2ce-4d29-9d90-3591b80bc438" providerId="ADAL" clId="{1E215674-DDB3-40FF-B836-35094D8596A4}" dt="2021-04-14T17:20:09.187" v="8843" actId="948"/>
          <ac:spMkLst>
            <pc:docMk/>
            <pc:sldMk cId="2715760571" sldId="311"/>
            <ac:spMk id="587" creationId="{7FC2D976-FF61-496E-BC30-76433C060A8D}"/>
          </ac:spMkLst>
        </pc:spChg>
        <pc:grpChg chg="del mod ord">
          <ac:chgData name="PROVENCHERE Sandrine" userId="ad1decff-d2ce-4d29-9d90-3591b80bc438" providerId="ADAL" clId="{1E215674-DDB3-40FF-B836-35094D8596A4}" dt="2021-04-14T15:16:20.458" v="1517" actId="165"/>
          <ac:grpSpMkLst>
            <pc:docMk/>
            <pc:sldMk cId="2715760571" sldId="311"/>
            <ac:grpSpMk id="4" creationId="{2A99862D-ABDF-4A8D-8A7D-1A6C4496C6A5}"/>
          </ac:grpSpMkLst>
        </pc:grpChg>
        <pc:grpChg chg="del mod ord">
          <ac:chgData name="PROVENCHERE Sandrine" userId="ad1decff-d2ce-4d29-9d90-3591b80bc438" providerId="ADAL" clId="{1E215674-DDB3-40FF-B836-35094D8596A4}" dt="2021-04-14T15:16:55.612" v="1556" actId="478"/>
          <ac:grpSpMkLst>
            <pc:docMk/>
            <pc:sldMk cId="2715760571" sldId="311"/>
            <ac:grpSpMk id="170" creationId="{6F1A5A77-52DB-422B-BFEE-213754DB2529}"/>
          </ac:grpSpMkLst>
        </pc:grpChg>
        <pc:grpChg chg="mod ord">
          <ac:chgData name="PROVENCHERE Sandrine" userId="ad1decff-d2ce-4d29-9d90-3591b80bc438" providerId="ADAL" clId="{1E215674-DDB3-40FF-B836-35094D8596A4}" dt="2021-04-14T15:29:00.292" v="8025"/>
          <ac:grpSpMkLst>
            <pc:docMk/>
            <pc:sldMk cId="2715760571" sldId="311"/>
            <ac:grpSpMk id="223" creationId="{1532DBDA-4563-47D6-AB49-0B0E433EFC2C}"/>
          </ac:grpSpMkLst>
        </pc:grpChg>
        <pc:grpChg chg="mod ord">
          <ac:chgData name="PROVENCHERE Sandrine" userId="ad1decff-d2ce-4d29-9d90-3591b80bc438" providerId="ADAL" clId="{1E215674-DDB3-40FF-B836-35094D8596A4}" dt="2021-04-14T15:29:00.224" v="7937"/>
          <ac:grpSpMkLst>
            <pc:docMk/>
            <pc:sldMk cId="2715760571" sldId="311"/>
            <ac:grpSpMk id="224" creationId="{E0E45818-B40E-4631-B714-2C9F181FC426}"/>
          </ac:grpSpMkLst>
        </pc:grpChg>
        <pc:grpChg chg="del mod ord">
          <ac:chgData name="PROVENCHERE Sandrine" userId="ad1decff-d2ce-4d29-9d90-3591b80bc438" providerId="ADAL" clId="{1E215674-DDB3-40FF-B836-35094D8596A4}" dt="2021-04-14T15:18:09.881" v="2092" actId="478"/>
          <ac:grpSpMkLst>
            <pc:docMk/>
            <pc:sldMk cId="2715760571" sldId="311"/>
            <ac:grpSpMk id="251" creationId="{AAE3638F-9175-41E7-AB28-C92CC1FC8751}"/>
          </ac:grpSpMkLst>
        </pc:grpChg>
        <pc:graphicFrameChg chg="mod ord">
          <ac:chgData name="PROVENCHERE Sandrine" userId="ad1decff-d2ce-4d29-9d90-3591b80bc438" providerId="ADAL" clId="{1E215674-DDB3-40FF-B836-35094D8596A4}" dt="2021-04-14T17:20:09.289" v="8847"/>
          <ac:graphicFrameMkLst>
            <pc:docMk/>
            <pc:sldMk cId="2715760571" sldId="311"/>
            <ac:graphicFrameMk id="6" creationId="{57E14FF0-0B68-4969-BEF0-799A891BCBC3}"/>
          </ac:graphicFrameMkLst>
        </pc:graphicFrameChg>
        <pc:graphicFrameChg chg="mod ord modGraphic">
          <ac:chgData name="PROVENCHERE Sandrine" userId="ad1decff-d2ce-4d29-9d90-3591b80bc438" providerId="ADAL" clId="{1E215674-DDB3-40FF-B836-35094D8596A4}" dt="2021-04-14T15:29:00.279" v="8009"/>
          <ac:graphicFrameMkLst>
            <pc:docMk/>
            <pc:sldMk cId="2715760571" sldId="311"/>
            <ac:graphicFrameMk id="20" creationId="{93A48EBA-2AD7-476B-9F3C-BD0243C4D4A9}"/>
          </ac:graphicFrameMkLst>
        </pc:graphicFrameChg>
        <pc:graphicFrameChg chg="del">
          <ac:chgData name="PROVENCHERE Sandrine" userId="ad1decff-d2ce-4d29-9d90-3591b80bc438" providerId="ADAL" clId="{1E215674-DDB3-40FF-B836-35094D8596A4}" dt="2021-04-14T15:15:57.095" v="540"/>
          <ac:graphicFrameMkLst>
            <pc:docMk/>
            <pc:sldMk cId="2715760571" sldId="311"/>
            <ac:graphicFrameMk id="166" creationId="{28CD3828-1045-4226-8264-9195E81992F6}"/>
          </ac:graphicFrameMkLst>
        </pc:graphicFrameChg>
        <pc:graphicFrameChg chg="del mod">
          <ac:chgData name="PROVENCHERE Sandrine" userId="ad1decff-d2ce-4d29-9d90-3591b80bc438" providerId="ADAL" clId="{1E215674-DDB3-40FF-B836-35094D8596A4}" dt="2021-04-14T15:20:43.605" v="2118" actId="478"/>
          <ac:graphicFrameMkLst>
            <pc:docMk/>
            <pc:sldMk cId="2715760571" sldId="311"/>
            <ac:graphicFrameMk id="175" creationId="{4A9F05B8-4C61-41AD-B6FE-012BC0EA6717}"/>
          </ac:graphicFrameMkLst>
        </pc:graphicFrameChg>
        <pc:graphicFrameChg chg="del mod">
          <ac:chgData name="PROVENCHERE Sandrine" userId="ad1decff-d2ce-4d29-9d90-3591b80bc438" providerId="ADAL" clId="{1E215674-DDB3-40FF-B836-35094D8596A4}" dt="2021-04-14T15:28:54.737" v="7363"/>
          <ac:graphicFrameMkLst>
            <pc:docMk/>
            <pc:sldMk cId="2715760571" sldId="311"/>
            <ac:graphicFrameMk id="178" creationId="{F2A264BA-AEFB-4340-803E-495907B854ED}"/>
          </ac:graphicFrameMkLst>
        </pc:graphicFrameChg>
        <pc:graphicFrameChg chg="del mod">
          <ac:chgData name="PROVENCHERE Sandrine" userId="ad1decff-d2ce-4d29-9d90-3591b80bc438" providerId="ADAL" clId="{1E215674-DDB3-40FF-B836-35094D8596A4}" dt="2021-04-14T15:16:03.348" v="1209"/>
          <ac:graphicFrameMkLst>
            <pc:docMk/>
            <pc:sldMk cId="2715760571" sldId="311"/>
            <ac:graphicFrameMk id="200" creationId="{D371F45A-C573-44CD-A802-FD60F0D7D10F}"/>
          </ac:graphicFrameMkLst>
        </pc:graphicFrameChg>
        <pc:graphicFrameChg chg="mod ord modGraphic">
          <ac:chgData name="PROVENCHERE Sandrine" userId="ad1decff-d2ce-4d29-9d90-3591b80bc438" providerId="ADAL" clId="{1E215674-DDB3-40FF-B836-35094D8596A4}" dt="2021-04-14T15:29:00.281" v="8011"/>
          <ac:graphicFrameMkLst>
            <pc:docMk/>
            <pc:sldMk cId="2715760571" sldId="311"/>
            <ac:graphicFrameMk id="214" creationId="{6A0534B6-8444-4A56-BB53-5AEEDA1F0D0E}"/>
          </ac:graphicFrameMkLst>
        </pc:graphicFrameChg>
        <pc:graphicFrameChg chg="add del mod">
          <ac:chgData name="PROVENCHERE Sandrine" userId="ad1decff-d2ce-4d29-9d90-3591b80bc438" providerId="ADAL" clId="{1E215674-DDB3-40FF-B836-35094D8596A4}" dt="2021-04-14T15:29:00.158" v="7874"/>
          <ac:graphicFrameMkLst>
            <pc:docMk/>
            <pc:sldMk cId="2715760571" sldId="311"/>
            <ac:graphicFrameMk id="229" creationId="{0D61FC2D-8E08-4ED5-B4C6-2177197C265A}"/>
          </ac:graphicFrameMkLst>
        </pc:graphicFrameChg>
        <pc:graphicFrameChg chg="add del mod">
          <ac:chgData name="PROVENCHERE Sandrine" userId="ad1decff-d2ce-4d29-9d90-3591b80bc438" providerId="ADAL" clId="{1E215674-DDB3-40FF-B836-35094D8596A4}" dt="2021-04-14T15:29:00.190" v="7904"/>
          <ac:graphicFrameMkLst>
            <pc:docMk/>
            <pc:sldMk cId="2715760571" sldId="311"/>
            <ac:graphicFrameMk id="243" creationId="{B080167C-2CAF-4B07-AEF8-C2C7B9EA3AA8}"/>
          </ac:graphicFrameMkLst>
        </pc:graphicFrameChg>
        <pc:graphicFrameChg chg="add mod">
          <ac:chgData name="PROVENCHERE Sandrine" userId="ad1decff-d2ce-4d29-9d90-3591b80bc438" providerId="ADAL" clId="{1E215674-DDB3-40FF-B836-35094D8596A4}" dt="2021-04-14T15:18:04.693" v="2089"/>
          <ac:graphicFrameMkLst>
            <pc:docMk/>
            <pc:sldMk cId="2715760571" sldId="311"/>
            <ac:graphicFrameMk id="246" creationId="{015526CB-A1B2-4BF9-B90E-201ECC36918E}"/>
          </ac:graphicFrameMkLst>
        </pc:graphicFrameChg>
        <pc:graphicFrameChg chg="add mod">
          <ac:chgData name="PROVENCHERE Sandrine" userId="ad1decff-d2ce-4d29-9d90-3591b80bc438" providerId="ADAL" clId="{1E215674-DDB3-40FF-B836-35094D8596A4}" dt="2021-04-14T15:29:00.298" v="8032"/>
          <ac:graphicFrameMkLst>
            <pc:docMk/>
            <pc:sldMk cId="2715760571" sldId="311"/>
            <ac:graphicFrameMk id="254" creationId="{4A9F05B8-4C61-41AD-B6FE-012BC0EA6717}"/>
          </ac:graphicFrameMkLst>
        </pc:graphicFrameChg>
        <pc:graphicFrameChg chg="add mod">
          <ac:chgData name="PROVENCHERE Sandrine" userId="ad1decff-d2ce-4d29-9d90-3591b80bc438" providerId="ADAL" clId="{1E215674-DDB3-40FF-B836-35094D8596A4}" dt="2021-04-14T15:29:00.299" v="8033"/>
          <ac:graphicFrameMkLst>
            <pc:docMk/>
            <pc:sldMk cId="2715760571" sldId="311"/>
            <ac:graphicFrameMk id="256" creationId="{2EFAD91C-BAC7-4F15-859B-7DC7BBC5D264}"/>
          </ac:graphicFrameMkLst>
        </pc:graphicFrameChg>
        <pc:graphicFrameChg chg="del mod">
          <ac:chgData name="PROVENCHERE Sandrine" userId="ad1decff-d2ce-4d29-9d90-3591b80bc438" providerId="ADAL" clId="{1E215674-DDB3-40FF-B836-35094D8596A4}" dt="2021-04-14T15:28:59.891" v="7782"/>
          <ac:graphicFrameMkLst>
            <pc:docMk/>
            <pc:sldMk cId="2715760571" sldId="311"/>
            <ac:graphicFrameMk id="257" creationId="{BFAF5842-775A-428D-98AF-ABB1C157FEED}"/>
          </ac:graphicFrameMkLst>
        </pc:graphicFrameChg>
        <pc:graphicFrameChg chg="del mod">
          <ac:chgData name="PROVENCHERE Sandrine" userId="ad1decff-d2ce-4d29-9d90-3591b80bc438" providerId="ADAL" clId="{1E215674-DDB3-40FF-B836-35094D8596A4}" dt="2021-04-14T15:24:42.256" v="7114" actId="478"/>
          <ac:graphicFrameMkLst>
            <pc:docMk/>
            <pc:sldMk cId="2715760571" sldId="311"/>
            <ac:graphicFrameMk id="267" creationId="{2EFAD91C-BAC7-4F15-859B-7DC7BBC5D264}"/>
          </ac:graphicFrameMkLst>
        </pc:graphicFrameChg>
        <pc:graphicFrameChg chg="add mod">
          <ac:chgData name="PROVENCHERE Sandrine" userId="ad1decff-d2ce-4d29-9d90-3591b80bc438" providerId="ADAL" clId="{1E215674-DDB3-40FF-B836-35094D8596A4}" dt="2021-04-14T15:24:04.809" v="4872"/>
          <ac:graphicFrameMkLst>
            <pc:docMk/>
            <pc:sldMk cId="2715760571" sldId="311"/>
            <ac:graphicFrameMk id="310" creationId="{D779C8A7-331A-4577-857C-E5EA4CE1D2A8}"/>
          </ac:graphicFrameMkLst>
        </pc:graphicFrameChg>
        <pc:graphicFrameChg chg="add mod">
          <ac:chgData name="PROVENCHERE Sandrine" userId="ad1decff-d2ce-4d29-9d90-3591b80bc438" providerId="ADAL" clId="{1E215674-DDB3-40FF-B836-35094D8596A4}" dt="2021-04-14T15:29:00.127" v="7836"/>
          <ac:graphicFrameMkLst>
            <pc:docMk/>
            <pc:sldMk cId="2715760571" sldId="311"/>
            <ac:graphicFrameMk id="311" creationId="{3EA2CB32-A950-4914-8612-48BDDEF0C6B4}"/>
          </ac:graphicFrameMkLst>
        </pc:graphicFrameChg>
        <pc:graphicFrameChg chg="add mod">
          <ac:chgData name="PROVENCHERE Sandrine" userId="ad1decff-d2ce-4d29-9d90-3591b80bc438" providerId="ADAL" clId="{1E215674-DDB3-40FF-B836-35094D8596A4}" dt="2021-04-14T15:29:00.143" v="7857"/>
          <ac:graphicFrameMkLst>
            <pc:docMk/>
            <pc:sldMk cId="2715760571" sldId="311"/>
            <ac:graphicFrameMk id="312" creationId="{B9709A49-3269-4EC1-89CF-B2CE35E2AB75}"/>
          </ac:graphicFrameMkLst>
        </pc:graphicFrameChg>
        <pc:picChg chg="mod ord">
          <ac:chgData name="PROVENCHERE Sandrine" userId="ad1decff-d2ce-4d29-9d90-3591b80bc438" providerId="ADAL" clId="{1E215674-DDB3-40FF-B836-35094D8596A4}" dt="2021-04-14T15:29:00.117" v="7821"/>
          <ac:picMkLst>
            <pc:docMk/>
            <pc:sldMk cId="2715760571" sldId="311"/>
            <ac:picMk id="163" creationId="{3BC3DAD2-8ED9-424E-A55E-E1890FE3F429}"/>
          </ac:picMkLst>
        </pc:picChg>
        <pc:picChg chg="mod ord">
          <ac:chgData name="PROVENCHERE Sandrine" userId="ad1decff-d2ce-4d29-9d90-3591b80bc438" providerId="ADAL" clId="{1E215674-DDB3-40FF-B836-35094D8596A4}" dt="2021-04-14T15:29:00.272" v="7999"/>
          <ac:picMkLst>
            <pc:docMk/>
            <pc:sldMk cId="2715760571" sldId="311"/>
            <ac:picMk id="185" creationId="{44FC5ABB-B2FD-4502-8A15-9D17F9996D14}"/>
          </ac:picMkLst>
        </pc:picChg>
        <pc:picChg chg="mod ord">
          <ac:chgData name="PROVENCHERE Sandrine" userId="ad1decff-d2ce-4d29-9d90-3591b80bc438" providerId="ADAL" clId="{1E215674-DDB3-40FF-B836-35094D8596A4}" dt="2021-04-14T15:29:00.225" v="7939"/>
          <ac:picMkLst>
            <pc:docMk/>
            <pc:sldMk cId="2715760571" sldId="311"/>
            <ac:picMk id="226" creationId="{E5904904-D88F-4CF1-9C77-B7E09E7CCC4B}"/>
          </ac:picMkLst>
        </pc:picChg>
        <pc:picChg chg="mod ord">
          <ac:chgData name="PROVENCHERE Sandrine" userId="ad1decff-d2ce-4d29-9d90-3591b80bc438" providerId="ADAL" clId="{1E215674-DDB3-40FF-B836-35094D8596A4}" dt="2021-04-14T15:29:00.227" v="7941"/>
          <ac:picMkLst>
            <pc:docMk/>
            <pc:sldMk cId="2715760571" sldId="311"/>
            <ac:picMk id="235" creationId="{220EB096-C32C-4AF7-B8C4-9BEADBE025D0}"/>
          </ac:picMkLst>
        </pc:picChg>
        <pc:picChg chg="mod ord">
          <ac:chgData name="PROVENCHERE Sandrine" userId="ad1decff-d2ce-4d29-9d90-3591b80bc438" providerId="ADAL" clId="{1E215674-DDB3-40FF-B836-35094D8596A4}" dt="2021-04-14T15:29:00.237" v="7953"/>
          <ac:picMkLst>
            <pc:docMk/>
            <pc:sldMk cId="2715760571" sldId="311"/>
            <ac:picMk id="265" creationId="{5B0D0375-7556-4333-AD89-10E3CDB44481}"/>
          </ac:picMkLst>
        </pc:picChg>
        <pc:picChg chg="mod ord">
          <ac:chgData name="PROVENCHERE Sandrine" userId="ad1decff-d2ce-4d29-9d90-3591b80bc438" providerId="ADAL" clId="{1E215674-DDB3-40FF-B836-35094D8596A4}" dt="2021-04-14T15:29:00.239" v="7955"/>
          <ac:picMkLst>
            <pc:docMk/>
            <pc:sldMk cId="2715760571" sldId="311"/>
            <ac:picMk id="266" creationId="{D9C302AC-93BF-45BC-ABEA-BA155C880603}"/>
          </ac:picMkLst>
        </pc:picChg>
        <pc:picChg chg="mod ord">
          <ac:chgData name="PROVENCHERE Sandrine" userId="ad1decff-d2ce-4d29-9d90-3591b80bc438" providerId="ADAL" clId="{1E215674-DDB3-40FF-B836-35094D8596A4}" dt="2021-04-14T15:29:00.111" v="7809"/>
          <ac:picMkLst>
            <pc:docMk/>
            <pc:sldMk cId="2715760571" sldId="311"/>
            <ac:picMk id="288" creationId="{E97DC373-C2F1-4407-B1E9-062788795879}"/>
          </ac:picMkLst>
        </pc:picChg>
        <pc:picChg chg="mod ord">
          <ac:chgData name="PROVENCHERE Sandrine" userId="ad1decff-d2ce-4d29-9d90-3591b80bc438" providerId="ADAL" clId="{1E215674-DDB3-40FF-B836-35094D8596A4}" dt="2021-04-14T15:29:00.111" v="7811"/>
          <ac:picMkLst>
            <pc:docMk/>
            <pc:sldMk cId="2715760571" sldId="311"/>
            <ac:picMk id="289" creationId="{D3A2FE86-7E4C-444A-AF3A-E5EE7E89CA36}"/>
          </ac:picMkLst>
        </pc:picChg>
        <pc:picChg chg="mod ord">
          <ac:chgData name="PROVENCHERE Sandrine" userId="ad1decff-d2ce-4d29-9d90-3591b80bc438" providerId="ADAL" clId="{1E215674-DDB3-40FF-B836-35094D8596A4}" dt="2021-04-14T15:29:00.271" v="7997"/>
          <ac:picMkLst>
            <pc:docMk/>
            <pc:sldMk cId="2715760571" sldId="311"/>
            <ac:picMk id="291" creationId="{699BAE0F-CA3E-4DF5-8A7D-6CBCD17C9DE9}"/>
          </ac:picMkLst>
        </pc:picChg>
        <pc:picChg chg="mod ord">
          <ac:chgData name="PROVENCHERE Sandrine" userId="ad1decff-d2ce-4d29-9d90-3591b80bc438" providerId="ADAL" clId="{1E215674-DDB3-40FF-B836-35094D8596A4}" dt="2021-04-14T15:29:00.250" v="7969"/>
          <ac:picMkLst>
            <pc:docMk/>
            <pc:sldMk cId="2715760571" sldId="311"/>
            <ac:picMk id="330" creationId="{7291A2C6-1F44-433E-8D67-8E5FDED700D8}"/>
          </ac:picMkLst>
        </pc:picChg>
        <pc:picChg chg="mod ord">
          <ac:chgData name="PROVENCHERE Sandrine" userId="ad1decff-d2ce-4d29-9d90-3591b80bc438" providerId="ADAL" clId="{1E215674-DDB3-40FF-B836-35094D8596A4}" dt="2021-04-14T15:29:00.252" v="7971"/>
          <ac:picMkLst>
            <pc:docMk/>
            <pc:sldMk cId="2715760571" sldId="311"/>
            <ac:picMk id="331" creationId="{07776989-3012-448A-B792-6035EC30C0C7}"/>
          </ac:picMkLst>
        </pc:picChg>
        <pc:picChg chg="mod ord">
          <ac:chgData name="PROVENCHERE Sandrine" userId="ad1decff-d2ce-4d29-9d90-3591b80bc438" providerId="ADAL" clId="{1E215674-DDB3-40FF-B836-35094D8596A4}" dt="2021-04-14T15:29:00.102" v="7793"/>
          <ac:picMkLst>
            <pc:docMk/>
            <pc:sldMk cId="2715760571" sldId="311"/>
            <ac:picMk id="628" creationId="{28B31F95-BE17-4F95-B08B-A75F5988F9D5}"/>
          </ac:picMkLst>
        </pc:picChg>
        <pc:cxnChg chg="mod ord">
          <ac:chgData name="PROVENCHERE Sandrine" userId="ad1decff-d2ce-4d29-9d90-3591b80bc438" providerId="ADAL" clId="{1E215674-DDB3-40FF-B836-35094D8596A4}" dt="2021-04-14T15:29:00.291" v="8023"/>
          <ac:cxnSpMkLst>
            <pc:docMk/>
            <pc:sldMk cId="2715760571" sldId="311"/>
            <ac:cxnSpMk id="7" creationId="{62A22F70-FB03-456A-83CB-014703592A3E}"/>
          </ac:cxnSpMkLst>
        </pc:cxnChg>
        <pc:cxnChg chg="add mod ord">
          <ac:chgData name="PROVENCHERE Sandrine" userId="ad1decff-d2ce-4d29-9d90-3591b80bc438" providerId="ADAL" clId="{1E215674-DDB3-40FF-B836-35094D8596A4}" dt="2021-04-14T15:24:09.284" v="5512" actId="13822"/>
          <ac:cxnSpMkLst>
            <pc:docMk/>
            <pc:sldMk cId="2715760571" sldId="311"/>
            <ac:cxnSpMk id="22" creationId="{976FD103-7983-4219-AE33-BDB4E475A7CF}"/>
          </ac:cxnSpMkLst>
        </pc:cxnChg>
        <pc:cxnChg chg="add mod ord">
          <ac:chgData name="PROVENCHERE Sandrine" userId="ad1decff-d2ce-4d29-9d90-3591b80bc438" providerId="ADAL" clId="{1E215674-DDB3-40FF-B836-35094D8596A4}" dt="2021-04-14T15:24:09.283" v="5507" actId="13822"/>
          <ac:cxnSpMkLst>
            <pc:docMk/>
            <pc:sldMk cId="2715760571" sldId="311"/>
            <ac:cxnSpMk id="23" creationId="{60A15746-8485-4AB7-A5FB-E95BFD3B4E55}"/>
          </ac:cxnSpMkLst>
        </pc:cxnChg>
        <pc:cxnChg chg="add mod ord">
          <ac:chgData name="PROVENCHERE Sandrine" userId="ad1decff-d2ce-4d29-9d90-3591b80bc438" providerId="ADAL" clId="{1E215674-DDB3-40FF-B836-35094D8596A4}" dt="2021-04-14T15:24:09.281" v="5502" actId="13822"/>
          <ac:cxnSpMkLst>
            <pc:docMk/>
            <pc:sldMk cId="2715760571" sldId="311"/>
            <ac:cxnSpMk id="24" creationId="{E09EC437-41BF-40FB-A165-96231B4AF71E}"/>
          </ac:cxnSpMkLst>
        </pc:cxnChg>
        <pc:cxnChg chg="add mod ord">
          <ac:chgData name="PROVENCHERE Sandrine" userId="ad1decff-d2ce-4d29-9d90-3591b80bc438" providerId="ADAL" clId="{1E215674-DDB3-40FF-B836-35094D8596A4}" dt="2021-04-14T15:24:09.280" v="5497" actId="13822"/>
          <ac:cxnSpMkLst>
            <pc:docMk/>
            <pc:sldMk cId="2715760571" sldId="311"/>
            <ac:cxnSpMk id="25" creationId="{C3E78752-647D-40FC-9B1B-299D9FB9E456}"/>
          </ac:cxnSpMkLst>
        </pc:cxnChg>
        <pc:cxnChg chg="add mod ord">
          <ac:chgData name="PROVENCHERE Sandrine" userId="ad1decff-d2ce-4d29-9d90-3591b80bc438" providerId="ADAL" clId="{1E215674-DDB3-40FF-B836-35094D8596A4}" dt="2021-04-14T15:24:09.278" v="5492" actId="13822"/>
          <ac:cxnSpMkLst>
            <pc:docMk/>
            <pc:sldMk cId="2715760571" sldId="311"/>
            <ac:cxnSpMk id="26" creationId="{76A9B635-2375-4B1C-A0D8-2157FA3FB6F4}"/>
          </ac:cxnSpMkLst>
        </pc:cxnChg>
        <pc:cxnChg chg="add mod ord">
          <ac:chgData name="PROVENCHERE Sandrine" userId="ad1decff-d2ce-4d29-9d90-3591b80bc438" providerId="ADAL" clId="{1E215674-DDB3-40FF-B836-35094D8596A4}" dt="2021-04-14T15:24:09.277" v="5487" actId="13822"/>
          <ac:cxnSpMkLst>
            <pc:docMk/>
            <pc:sldMk cId="2715760571" sldId="311"/>
            <ac:cxnSpMk id="27" creationId="{7F5EDB1B-8F94-48BE-9BCE-182207602415}"/>
          </ac:cxnSpMkLst>
        </pc:cxnChg>
        <pc:cxnChg chg="add mod ord">
          <ac:chgData name="PROVENCHERE Sandrine" userId="ad1decff-d2ce-4d29-9d90-3591b80bc438" providerId="ADAL" clId="{1E215674-DDB3-40FF-B836-35094D8596A4}" dt="2021-04-14T15:24:09.275" v="5482" actId="13822"/>
          <ac:cxnSpMkLst>
            <pc:docMk/>
            <pc:sldMk cId="2715760571" sldId="311"/>
            <ac:cxnSpMk id="28" creationId="{2C691F26-6186-4317-BDE5-6867771B2D71}"/>
          </ac:cxnSpMkLst>
        </pc:cxnChg>
        <pc:cxnChg chg="add mod ord">
          <ac:chgData name="PROVENCHERE Sandrine" userId="ad1decff-d2ce-4d29-9d90-3591b80bc438" providerId="ADAL" clId="{1E215674-DDB3-40FF-B836-35094D8596A4}" dt="2021-04-14T15:24:09.274" v="5477" actId="13822"/>
          <ac:cxnSpMkLst>
            <pc:docMk/>
            <pc:sldMk cId="2715760571" sldId="311"/>
            <ac:cxnSpMk id="29" creationId="{392E4C7D-E8F2-4A96-BAFB-D4BAFF7C2747}"/>
          </ac:cxnSpMkLst>
        </pc:cxnChg>
        <pc:cxnChg chg="add mod ord">
          <ac:chgData name="PROVENCHERE Sandrine" userId="ad1decff-d2ce-4d29-9d90-3591b80bc438" providerId="ADAL" clId="{1E215674-DDB3-40FF-B836-35094D8596A4}" dt="2021-04-14T15:24:09.272" v="5472" actId="13822"/>
          <ac:cxnSpMkLst>
            <pc:docMk/>
            <pc:sldMk cId="2715760571" sldId="311"/>
            <ac:cxnSpMk id="30" creationId="{E0C168F0-CB14-44F8-AEAC-35BB14826147}"/>
          </ac:cxnSpMkLst>
        </pc:cxnChg>
        <pc:cxnChg chg="add mod ord">
          <ac:chgData name="PROVENCHERE Sandrine" userId="ad1decff-d2ce-4d29-9d90-3591b80bc438" providerId="ADAL" clId="{1E215674-DDB3-40FF-B836-35094D8596A4}" dt="2021-04-14T15:24:09.270" v="5467" actId="13822"/>
          <ac:cxnSpMkLst>
            <pc:docMk/>
            <pc:sldMk cId="2715760571" sldId="311"/>
            <ac:cxnSpMk id="31" creationId="{1FDA6783-DFE8-4C98-A12E-B77871A70642}"/>
          </ac:cxnSpMkLst>
        </pc:cxnChg>
        <pc:cxnChg chg="add mod ord">
          <ac:chgData name="PROVENCHERE Sandrine" userId="ad1decff-d2ce-4d29-9d90-3591b80bc438" providerId="ADAL" clId="{1E215674-DDB3-40FF-B836-35094D8596A4}" dt="2021-04-14T15:24:09.268" v="5462" actId="13822"/>
          <ac:cxnSpMkLst>
            <pc:docMk/>
            <pc:sldMk cId="2715760571" sldId="311"/>
            <ac:cxnSpMk id="32" creationId="{7C9FA711-A4AF-4573-A679-09EE84374342}"/>
          </ac:cxnSpMkLst>
        </pc:cxnChg>
        <pc:cxnChg chg="add mod ord">
          <ac:chgData name="PROVENCHERE Sandrine" userId="ad1decff-d2ce-4d29-9d90-3591b80bc438" providerId="ADAL" clId="{1E215674-DDB3-40FF-B836-35094D8596A4}" dt="2021-04-14T15:24:09.264" v="5452" actId="13822"/>
          <ac:cxnSpMkLst>
            <pc:docMk/>
            <pc:sldMk cId="2715760571" sldId="311"/>
            <ac:cxnSpMk id="33" creationId="{8CE67FCD-367E-4EF4-9935-84F795DD1994}"/>
          </ac:cxnSpMkLst>
        </pc:cxnChg>
        <pc:cxnChg chg="add mod ord">
          <ac:chgData name="PROVENCHERE Sandrine" userId="ad1decff-d2ce-4d29-9d90-3591b80bc438" providerId="ADAL" clId="{1E215674-DDB3-40FF-B836-35094D8596A4}" dt="2021-04-14T15:24:09.260" v="5442" actId="13822"/>
          <ac:cxnSpMkLst>
            <pc:docMk/>
            <pc:sldMk cId="2715760571" sldId="311"/>
            <ac:cxnSpMk id="35" creationId="{91352713-7BE4-4888-9B34-FE5AFC3B9495}"/>
          </ac:cxnSpMkLst>
        </pc:cxnChg>
        <pc:cxnChg chg="add mod ord">
          <ac:chgData name="PROVENCHERE Sandrine" userId="ad1decff-d2ce-4d29-9d90-3591b80bc438" providerId="ADAL" clId="{1E215674-DDB3-40FF-B836-35094D8596A4}" dt="2021-04-14T15:24:09.256" v="5432" actId="13822"/>
          <ac:cxnSpMkLst>
            <pc:docMk/>
            <pc:sldMk cId="2715760571" sldId="311"/>
            <ac:cxnSpMk id="36" creationId="{F9668601-F54F-480D-97FB-89943A13DE7C}"/>
          </ac:cxnSpMkLst>
        </pc:cxnChg>
        <pc:cxnChg chg="add mod ord">
          <ac:chgData name="PROVENCHERE Sandrine" userId="ad1decff-d2ce-4d29-9d90-3591b80bc438" providerId="ADAL" clId="{1E215674-DDB3-40FF-B836-35094D8596A4}" dt="2021-04-14T15:24:09.254" v="5427" actId="13822"/>
          <ac:cxnSpMkLst>
            <pc:docMk/>
            <pc:sldMk cId="2715760571" sldId="311"/>
            <ac:cxnSpMk id="37" creationId="{81E71833-4284-449A-A059-3340AB6D87BE}"/>
          </ac:cxnSpMkLst>
        </pc:cxnChg>
        <pc:cxnChg chg="add mod ord">
          <ac:chgData name="PROVENCHERE Sandrine" userId="ad1decff-d2ce-4d29-9d90-3591b80bc438" providerId="ADAL" clId="{1E215674-DDB3-40FF-B836-35094D8596A4}" dt="2021-04-14T15:24:09.251" v="5422" actId="13822"/>
          <ac:cxnSpMkLst>
            <pc:docMk/>
            <pc:sldMk cId="2715760571" sldId="311"/>
            <ac:cxnSpMk id="38" creationId="{ADA59762-6289-4308-B678-1FC90D6E6ADD}"/>
          </ac:cxnSpMkLst>
        </pc:cxnChg>
        <pc:cxnChg chg="add mod ord">
          <ac:chgData name="PROVENCHERE Sandrine" userId="ad1decff-d2ce-4d29-9d90-3591b80bc438" providerId="ADAL" clId="{1E215674-DDB3-40FF-B836-35094D8596A4}" dt="2021-04-14T15:24:09.249" v="5417" actId="13822"/>
          <ac:cxnSpMkLst>
            <pc:docMk/>
            <pc:sldMk cId="2715760571" sldId="311"/>
            <ac:cxnSpMk id="39" creationId="{65C49666-6DAB-449B-9AD7-28DDC7B65E3F}"/>
          </ac:cxnSpMkLst>
        </pc:cxnChg>
        <pc:cxnChg chg="add mod ord">
          <ac:chgData name="PROVENCHERE Sandrine" userId="ad1decff-d2ce-4d29-9d90-3591b80bc438" providerId="ADAL" clId="{1E215674-DDB3-40FF-B836-35094D8596A4}" dt="2021-04-14T15:24:09.248" v="5412" actId="13822"/>
          <ac:cxnSpMkLst>
            <pc:docMk/>
            <pc:sldMk cId="2715760571" sldId="311"/>
            <ac:cxnSpMk id="40" creationId="{8F40A4B4-C095-4C63-89B1-992845F28249}"/>
          </ac:cxnSpMkLst>
        </pc:cxnChg>
        <pc:cxnChg chg="add mod ord">
          <ac:chgData name="PROVENCHERE Sandrine" userId="ad1decff-d2ce-4d29-9d90-3591b80bc438" providerId="ADAL" clId="{1E215674-DDB3-40FF-B836-35094D8596A4}" dt="2021-04-14T15:24:09.246" v="5407" actId="13822"/>
          <ac:cxnSpMkLst>
            <pc:docMk/>
            <pc:sldMk cId="2715760571" sldId="311"/>
            <ac:cxnSpMk id="41" creationId="{1F842BDE-F80F-4A2E-BB5C-69A9F3E9B4EE}"/>
          </ac:cxnSpMkLst>
        </pc:cxnChg>
        <pc:cxnChg chg="add mod ord">
          <ac:chgData name="PROVENCHERE Sandrine" userId="ad1decff-d2ce-4d29-9d90-3591b80bc438" providerId="ADAL" clId="{1E215674-DDB3-40FF-B836-35094D8596A4}" dt="2021-04-14T15:24:09.246" v="5402" actId="13822"/>
          <ac:cxnSpMkLst>
            <pc:docMk/>
            <pc:sldMk cId="2715760571" sldId="311"/>
            <ac:cxnSpMk id="42" creationId="{E0C6B582-FFB4-4289-BE51-09EB479431D8}"/>
          </ac:cxnSpMkLst>
        </pc:cxnChg>
        <pc:cxnChg chg="add mod ord">
          <ac:chgData name="PROVENCHERE Sandrine" userId="ad1decff-d2ce-4d29-9d90-3591b80bc438" providerId="ADAL" clId="{1E215674-DDB3-40FF-B836-35094D8596A4}" dt="2021-04-14T15:24:09.243" v="5397" actId="13822"/>
          <ac:cxnSpMkLst>
            <pc:docMk/>
            <pc:sldMk cId="2715760571" sldId="311"/>
            <ac:cxnSpMk id="43" creationId="{1CA26633-989F-4609-A7F3-671E483E68F3}"/>
          </ac:cxnSpMkLst>
        </pc:cxnChg>
        <pc:cxnChg chg="add mod ord">
          <ac:chgData name="PROVENCHERE Sandrine" userId="ad1decff-d2ce-4d29-9d90-3591b80bc438" providerId="ADAL" clId="{1E215674-DDB3-40FF-B836-35094D8596A4}" dt="2021-04-14T15:24:09.239" v="5387" actId="13822"/>
          <ac:cxnSpMkLst>
            <pc:docMk/>
            <pc:sldMk cId="2715760571" sldId="311"/>
            <ac:cxnSpMk id="44" creationId="{913F25E0-5507-4DCC-98F7-52C02E379733}"/>
          </ac:cxnSpMkLst>
        </pc:cxnChg>
        <pc:cxnChg chg="add mod ord">
          <ac:chgData name="PROVENCHERE Sandrine" userId="ad1decff-d2ce-4d29-9d90-3591b80bc438" providerId="ADAL" clId="{1E215674-DDB3-40FF-B836-35094D8596A4}" dt="2021-04-14T15:24:09.236" v="5377" actId="13822"/>
          <ac:cxnSpMkLst>
            <pc:docMk/>
            <pc:sldMk cId="2715760571" sldId="311"/>
            <ac:cxnSpMk id="45" creationId="{EA5972A4-67C5-4C00-85B2-A8C43DE266D1}"/>
          </ac:cxnSpMkLst>
        </pc:cxnChg>
        <pc:cxnChg chg="add mod ord">
          <ac:chgData name="PROVENCHERE Sandrine" userId="ad1decff-d2ce-4d29-9d90-3591b80bc438" providerId="ADAL" clId="{1E215674-DDB3-40FF-B836-35094D8596A4}" dt="2021-04-14T15:24:09.232" v="5371" actId="13822"/>
          <ac:cxnSpMkLst>
            <pc:docMk/>
            <pc:sldMk cId="2715760571" sldId="311"/>
            <ac:cxnSpMk id="46" creationId="{6DC71E3A-9055-4E67-BDAF-7DCCC9B8C121}"/>
          </ac:cxnSpMkLst>
        </pc:cxnChg>
        <pc:cxnChg chg="add mod ord">
          <ac:chgData name="PROVENCHERE Sandrine" userId="ad1decff-d2ce-4d29-9d90-3591b80bc438" providerId="ADAL" clId="{1E215674-DDB3-40FF-B836-35094D8596A4}" dt="2021-04-14T15:24:09.230" v="5366" actId="13822"/>
          <ac:cxnSpMkLst>
            <pc:docMk/>
            <pc:sldMk cId="2715760571" sldId="311"/>
            <ac:cxnSpMk id="47" creationId="{66B4F6C5-DD15-428F-BE16-F177780C437A}"/>
          </ac:cxnSpMkLst>
        </pc:cxnChg>
        <pc:cxnChg chg="add mod ord">
          <ac:chgData name="PROVENCHERE Sandrine" userId="ad1decff-d2ce-4d29-9d90-3591b80bc438" providerId="ADAL" clId="{1E215674-DDB3-40FF-B836-35094D8596A4}" dt="2021-04-14T15:24:09.229" v="5361" actId="13822"/>
          <ac:cxnSpMkLst>
            <pc:docMk/>
            <pc:sldMk cId="2715760571" sldId="311"/>
            <ac:cxnSpMk id="48" creationId="{EE6D4A47-D2C7-468A-A1B8-F60812B47952}"/>
          </ac:cxnSpMkLst>
        </pc:cxnChg>
        <pc:cxnChg chg="add mod ord">
          <ac:chgData name="PROVENCHERE Sandrine" userId="ad1decff-d2ce-4d29-9d90-3591b80bc438" providerId="ADAL" clId="{1E215674-DDB3-40FF-B836-35094D8596A4}" dt="2021-04-14T15:24:09.227" v="5356" actId="13822"/>
          <ac:cxnSpMkLst>
            <pc:docMk/>
            <pc:sldMk cId="2715760571" sldId="311"/>
            <ac:cxnSpMk id="49" creationId="{E93008C4-960E-42A2-97D4-A27BF33E1642}"/>
          </ac:cxnSpMkLst>
        </pc:cxnChg>
        <pc:cxnChg chg="add mod ord">
          <ac:chgData name="PROVENCHERE Sandrine" userId="ad1decff-d2ce-4d29-9d90-3591b80bc438" providerId="ADAL" clId="{1E215674-DDB3-40FF-B836-35094D8596A4}" dt="2021-04-14T15:24:09.226" v="5351" actId="13822"/>
          <ac:cxnSpMkLst>
            <pc:docMk/>
            <pc:sldMk cId="2715760571" sldId="311"/>
            <ac:cxnSpMk id="50" creationId="{05B35E92-5C0F-49E4-B504-2F1392141A5A}"/>
          </ac:cxnSpMkLst>
        </pc:cxnChg>
        <pc:cxnChg chg="add mod ord">
          <ac:chgData name="PROVENCHERE Sandrine" userId="ad1decff-d2ce-4d29-9d90-3591b80bc438" providerId="ADAL" clId="{1E215674-DDB3-40FF-B836-35094D8596A4}" dt="2021-04-14T15:24:09.225" v="5346" actId="13822"/>
          <ac:cxnSpMkLst>
            <pc:docMk/>
            <pc:sldMk cId="2715760571" sldId="311"/>
            <ac:cxnSpMk id="51" creationId="{F4812A3D-3639-46C2-9D63-7D86ED47C0D4}"/>
          </ac:cxnSpMkLst>
        </pc:cxnChg>
        <pc:cxnChg chg="add mod ord">
          <ac:chgData name="PROVENCHERE Sandrine" userId="ad1decff-d2ce-4d29-9d90-3591b80bc438" providerId="ADAL" clId="{1E215674-DDB3-40FF-B836-35094D8596A4}" dt="2021-04-14T15:24:09.223" v="5341" actId="13822"/>
          <ac:cxnSpMkLst>
            <pc:docMk/>
            <pc:sldMk cId="2715760571" sldId="311"/>
            <ac:cxnSpMk id="52" creationId="{3E38CC4E-1D59-4DD8-BD07-20F0FF7BBDF0}"/>
          </ac:cxnSpMkLst>
        </pc:cxnChg>
        <pc:cxnChg chg="add mod ord">
          <ac:chgData name="PROVENCHERE Sandrine" userId="ad1decff-d2ce-4d29-9d90-3591b80bc438" providerId="ADAL" clId="{1E215674-DDB3-40FF-B836-35094D8596A4}" dt="2021-04-14T15:24:09.221" v="5336" actId="13822"/>
          <ac:cxnSpMkLst>
            <pc:docMk/>
            <pc:sldMk cId="2715760571" sldId="311"/>
            <ac:cxnSpMk id="53" creationId="{826561D9-2B3E-4122-8E7A-530DF0F32610}"/>
          </ac:cxnSpMkLst>
        </pc:cxnChg>
        <pc:cxnChg chg="add mod ord">
          <ac:chgData name="PROVENCHERE Sandrine" userId="ad1decff-d2ce-4d29-9d90-3591b80bc438" providerId="ADAL" clId="{1E215674-DDB3-40FF-B836-35094D8596A4}" dt="2021-04-14T15:24:09.220" v="5331" actId="13822"/>
          <ac:cxnSpMkLst>
            <pc:docMk/>
            <pc:sldMk cId="2715760571" sldId="311"/>
            <ac:cxnSpMk id="54" creationId="{FA6E0C42-47D1-49F6-AEA9-E5BA67D71D4C}"/>
          </ac:cxnSpMkLst>
        </pc:cxnChg>
        <pc:cxnChg chg="add mod ord">
          <ac:chgData name="PROVENCHERE Sandrine" userId="ad1decff-d2ce-4d29-9d90-3591b80bc438" providerId="ADAL" clId="{1E215674-DDB3-40FF-B836-35094D8596A4}" dt="2021-04-14T15:24:09.213" v="5320" actId="13822"/>
          <ac:cxnSpMkLst>
            <pc:docMk/>
            <pc:sldMk cId="2715760571" sldId="311"/>
            <ac:cxnSpMk id="55" creationId="{E0B1A686-2AE7-42E2-9BD6-461F17EAB0A8}"/>
          </ac:cxnSpMkLst>
        </pc:cxnChg>
        <pc:cxnChg chg="add del mod ord">
          <ac:chgData name="PROVENCHERE Sandrine" userId="ad1decff-d2ce-4d29-9d90-3591b80bc438" providerId="ADAL" clId="{1E215674-DDB3-40FF-B836-35094D8596A4}" dt="2021-04-14T15:29:00.182" v="7897"/>
          <ac:cxnSpMkLst>
            <pc:docMk/>
            <pc:sldMk cId="2715760571" sldId="311"/>
            <ac:cxnSpMk id="182" creationId="{89C9F05F-BAFB-490E-9311-7BB8EB226F95}"/>
          </ac:cxnSpMkLst>
        </pc:cxnChg>
        <pc:cxnChg chg="add del mod ord">
          <ac:chgData name="PROVENCHERE Sandrine" userId="ad1decff-d2ce-4d29-9d90-3591b80bc438" providerId="ADAL" clId="{1E215674-DDB3-40FF-B836-35094D8596A4}" dt="2021-04-14T15:29:00.180" v="7895"/>
          <ac:cxnSpMkLst>
            <pc:docMk/>
            <pc:sldMk cId="2715760571" sldId="311"/>
            <ac:cxnSpMk id="183" creationId="{E784DC67-8C29-4FAC-828A-8625BFD6D67A}"/>
          </ac:cxnSpMkLst>
        </pc:cxnChg>
        <pc:cxnChg chg="add del mod ord">
          <ac:chgData name="PROVENCHERE Sandrine" userId="ad1decff-d2ce-4d29-9d90-3591b80bc438" providerId="ADAL" clId="{1E215674-DDB3-40FF-B836-35094D8596A4}" dt="2021-04-14T15:29:00.179" v="7893"/>
          <ac:cxnSpMkLst>
            <pc:docMk/>
            <pc:sldMk cId="2715760571" sldId="311"/>
            <ac:cxnSpMk id="184" creationId="{B2984EC8-102D-4C3A-BDEF-B477C94A825B}"/>
          </ac:cxnSpMkLst>
        </pc:cxnChg>
        <pc:cxnChg chg="add del mod ord">
          <ac:chgData name="PROVENCHERE Sandrine" userId="ad1decff-d2ce-4d29-9d90-3591b80bc438" providerId="ADAL" clId="{1E215674-DDB3-40FF-B836-35094D8596A4}" dt="2021-04-14T15:29:00.183" v="7899"/>
          <ac:cxnSpMkLst>
            <pc:docMk/>
            <pc:sldMk cId="2715760571" sldId="311"/>
            <ac:cxnSpMk id="186" creationId="{00557F1D-AD54-4D7A-94BA-920B1991150A}"/>
          </ac:cxnSpMkLst>
        </pc:cxnChg>
        <pc:cxnChg chg="mod ord">
          <ac:chgData name="PROVENCHERE Sandrine" userId="ad1decff-d2ce-4d29-9d90-3591b80bc438" providerId="ADAL" clId="{1E215674-DDB3-40FF-B836-35094D8596A4}" dt="2021-04-14T15:29:00.211" v="7925"/>
          <ac:cxnSpMkLst>
            <pc:docMk/>
            <pc:sldMk cId="2715760571" sldId="311"/>
            <ac:cxnSpMk id="212" creationId="{9AD761A7-3D08-4463-87C3-F74399D86F07}"/>
          </ac:cxnSpMkLst>
        </pc:cxnChg>
        <pc:cxnChg chg="mod ord">
          <ac:chgData name="PROVENCHERE Sandrine" userId="ad1decff-d2ce-4d29-9d90-3591b80bc438" providerId="ADAL" clId="{1E215674-DDB3-40FF-B836-35094D8596A4}" dt="2021-04-14T15:29:00.283" v="8013"/>
          <ac:cxnSpMkLst>
            <pc:docMk/>
            <pc:sldMk cId="2715760571" sldId="311"/>
            <ac:cxnSpMk id="215" creationId="{7194423D-DA2E-4AA9-A87C-F19BCCFE6E94}"/>
          </ac:cxnSpMkLst>
        </pc:cxnChg>
        <pc:cxnChg chg="mod ord">
          <ac:chgData name="PROVENCHERE Sandrine" userId="ad1decff-d2ce-4d29-9d90-3591b80bc438" providerId="ADAL" clId="{1E215674-DDB3-40FF-B836-35094D8596A4}" dt="2021-04-14T15:29:00.215" v="7929"/>
          <ac:cxnSpMkLst>
            <pc:docMk/>
            <pc:sldMk cId="2715760571" sldId="311"/>
            <ac:cxnSpMk id="216" creationId="{0803B770-41E7-4D20-B8A6-B12B4C84190F}"/>
          </ac:cxnSpMkLst>
        </pc:cxnChg>
        <pc:cxnChg chg="mod ord">
          <ac:chgData name="PROVENCHERE Sandrine" userId="ad1decff-d2ce-4d29-9d90-3591b80bc438" providerId="ADAL" clId="{1E215674-DDB3-40FF-B836-35094D8596A4}" dt="2021-04-14T15:29:00.213" v="7927"/>
          <ac:cxnSpMkLst>
            <pc:docMk/>
            <pc:sldMk cId="2715760571" sldId="311"/>
            <ac:cxnSpMk id="217" creationId="{40A83792-5BE9-4BF4-83BA-5A859B894BF2}"/>
          </ac:cxnSpMkLst>
        </pc:cxnChg>
        <pc:cxnChg chg="mod ord">
          <ac:chgData name="PROVENCHERE Sandrine" userId="ad1decff-d2ce-4d29-9d90-3591b80bc438" providerId="ADAL" clId="{1E215674-DDB3-40FF-B836-35094D8596A4}" dt="2021-04-14T15:29:00.217" v="7931"/>
          <ac:cxnSpMkLst>
            <pc:docMk/>
            <pc:sldMk cId="2715760571" sldId="311"/>
            <ac:cxnSpMk id="218" creationId="{B174256C-A32F-4B5E-8EC6-3AB038DF77DA}"/>
          </ac:cxnSpMkLst>
        </pc:cxnChg>
        <pc:cxnChg chg="mod">
          <ac:chgData name="PROVENCHERE Sandrine" userId="ad1decff-d2ce-4d29-9d90-3591b80bc438" providerId="ADAL" clId="{1E215674-DDB3-40FF-B836-35094D8596A4}" dt="2021-04-14T15:18:16.345" v="2099" actId="14100"/>
          <ac:cxnSpMkLst>
            <pc:docMk/>
            <pc:sldMk cId="2715760571" sldId="311"/>
            <ac:cxnSpMk id="231" creationId="{F7692571-50DF-4FB7-8A88-FC1F69B7377C}"/>
          </ac:cxnSpMkLst>
        </pc:cxnChg>
        <pc:cxnChg chg="mod">
          <ac:chgData name="PROVENCHERE Sandrine" userId="ad1decff-d2ce-4d29-9d90-3591b80bc438" providerId="ADAL" clId="{1E215674-DDB3-40FF-B836-35094D8596A4}" dt="2021-04-14T15:17:36.538" v="1573" actId="14100"/>
          <ac:cxnSpMkLst>
            <pc:docMk/>
            <pc:sldMk cId="2715760571" sldId="311"/>
            <ac:cxnSpMk id="234" creationId="{FC4E85DB-0484-4A71-87F1-67F87994B7D1}"/>
          </ac:cxnSpMkLst>
        </pc:cxnChg>
        <pc:cxnChg chg="mod ord">
          <ac:chgData name="PROVENCHERE Sandrine" userId="ad1decff-d2ce-4d29-9d90-3591b80bc438" providerId="ADAL" clId="{1E215674-DDB3-40FF-B836-35094D8596A4}" dt="2021-04-14T15:29:00.125" v="7833"/>
          <ac:cxnSpMkLst>
            <pc:docMk/>
            <pc:sldMk cId="2715760571" sldId="311"/>
            <ac:cxnSpMk id="236" creationId="{AA1FDE45-0B9D-4D01-B3C9-677FB72BB1FD}"/>
          </ac:cxnSpMkLst>
        </pc:cxnChg>
        <pc:cxnChg chg="mod ord">
          <ac:chgData name="PROVENCHERE Sandrine" userId="ad1decff-d2ce-4d29-9d90-3591b80bc438" providerId="ADAL" clId="{1E215674-DDB3-40FF-B836-35094D8596A4}" dt="2021-04-14T15:29:00.124" v="7831"/>
          <ac:cxnSpMkLst>
            <pc:docMk/>
            <pc:sldMk cId="2715760571" sldId="311"/>
            <ac:cxnSpMk id="237" creationId="{7465A2B5-A087-41D9-BDCF-605FFF5D9968}"/>
          </ac:cxnSpMkLst>
        </pc:cxnChg>
        <pc:cxnChg chg="mod ord">
          <ac:chgData name="PROVENCHERE Sandrine" userId="ad1decff-d2ce-4d29-9d90-3591b80bc438" providerId="ADAL" clId="{1E215674-DDB3-40FF-B836-35094D8596A4}" dt="2021-04-14T15:29:00.123" v="7829"/>
          <ac:cxnSpMkLst>
            <pc:docMk/>
            <pc:sldMk cId="2715760571" sldId="311"/>
            <ac:cxnSpMk id="238" creationId="{E9D357AF-B119-44D4-A938-72657FD66F59}"/>
          </ac:cxnSpMkLst>
        </pc:cxnChg>
        <pc:cxnChg chg="mod ord">
          <ac:chgData name="PROVENCHERE Sandrine" userId="ad1decff-d2ce-4d29-9d90-3591b80bc438" providerId="ADAL" clId="{1E215674-DDB3-40FF-B836-35094D8596A4}" dt="2021-04-14T15:29:00.122" v="7827"/>
          <ac:cxnSpMkLst>
            <pc:docMk/>
            <pc:sldMk cId="2715760571" sldId="311"/>
            <ac:cxnSpMk id="239" creationId="{13F1A2BD-C98E-43DB-8866-363DC24BF961}"/>
          </ac:cxnSpMkLst>
        </pc:cxnChg>
        <pc:cxnChg chg="mod ord">
          <ac:chgData name="PROVENCHERE Sandrine" userId="ad1decff-d2ce-4d29-9d90-3591b80bc438" providerId="ADAL" clId="{1E215674-DDB3-40FF-B836-35094D8596A4}" dt="2021-04-14T15:29:00.126" v="7835"/>
          <ac:cxnSpMkLst>
            <pc:docMk/>
            <pc:sldMk cId="2715760571" sldId="311"/>
            <ac:cxnSpMk id="240" creationId="{128DD387-22BD-42A3-B808-54C04F58229B}"/>
          </ac:cxnSpMkLst>
        </pc:cxnChg>
        <pc:cxnChg chg="mod ord topLvl">
          <ac:chgData name="PROVENCHERE Sandrine" userId="ad1decff-d2ce-4d29-9d90-3591b80bc438" providerId="ADAL" clId="{1E215674-DDB3-40FF-B836-35094D8596A4}" dt="2021-04-14T15:29:00.289" v="8021"/>
          <ac:cxnSpMkLst>
            <pc:docMk/>
            <pc:sldMk cId="2715760571" sldId="311"/>
            <ac:cxnSpMk id="245" creationId="{AFDB29DF-5506-4336-A5B9-B7DDA77D3DDB}"/>
          </ac:cxnSpMkLst>
        </pc:cxnChg>
        <pc:cxnChg chg="add mod ord">
          <ac:chgData name="PROVENCHERE Sandrine" userId="ad1decff-d2ce-4d29-9d90-3591b80bc438" providerId="ADAL" clId="{1E215674-DDB3-40FF-B836-35094D8596A4}" dt="2021-04-14T15:29:00.297" v="8031"/>
          <ac:cxnSpMkLst>
            <pc:docMk/>
            <pc:sldMk cId="2715760571" sldId="311"/>
            <ac:cxnSpMk id="252" creationId="{0AE33B11-BBEE-4A09-ABA8-5877F46D4D73}"/>
          </ac:cxnSpMkLst>
        </pc:cxnChg>
        <pc:cxnChg chg="del mod topLvl">
          <ac:chgData name="PROVENCHERE Sandrine" userId="ad1decff-d2ce-4d29-9d90-3591b80bc438" providerId="ADAL" clId="{1E215674-DDB3-40FF-B836-35094D8596A4}" dt="2021-04-14T15:18:11.564" v="2093" actId="478"/>
          <ac:cxnSpMkLst>
            <pc:docMk/>
            <pc:sldMk cId="2715760571" sldId="311"/>
            <ac:cxnSpMk id="253" creationId="{62B12457-BBAB-4D8E-924F-612F34FED31A}"/>
          </ac:cxnSpMkLst>
        </pc:cxnChg>
        <pc:cxnChg chg="mod ord">
          <ac:chgData name="PROVENCHERE Sandrine" userId="ad1decff-d2ce-4d29-9d90-3591b80bc438" providerId="ADAL" clId="{1E215674-DDB3-40FF-B836-35094D8596A4}" dt="2021-04-14T15:29:00.136" v="7846"/>
          <ac:cxnSpMkLst>
            <pc:docMk/>
            <pc:sldMk cId="2715760571" sldId="311"/>
            <ac:cxnSpMk id="258" creationId="{E8E7019A-5327-4CE4-BFA7-3C388DC4E25E}"/>
          </ac:cxnSpMkLst>
        </pc:cxnChg>
        <pc:cxnChg chg="mod ord">
          <ac:chgData name="PROVENCHERE Sandrine" userId="ad1decff-d2ce-4d29-9d90-3591b80bc438" providerId="ADAL" clId="{1E215674-DDB3-40FF-B836-35094D8596A4}" dt="2021-04-14T15:29:00.294" v="8027"/>
          <ac:cxnSpMkLst>
            <pc:docMk/>
            <pc:sldMk cId="2715760571" sldId="311"/>
            <ac:cxnSpMk id="279" creationId="{96EB7270-1670-4F9D-A817-68DA75900D78}"/>
          </ac:cxnSpMkLst>
        </pc:cxnChg>
        <pc:cxnChg chg="mod ord">
          <ac:chgData name="PROVENCHERE Sandrine" userId="ad1decff-d2ce-4d29-9d90-3591b80bc438" providerId="ADAL" clId="{1E215674-DDB3-40FF-B836-35094D8596A4}" dt="2021-04-14T15:29:00.138" v="7848"/>
          <ac:cxnSpMkLst>
            <pc:docMk/>
            <pc:sldMk cId="2715760571" sldId="311"/>
            <ac:cxnSpMk id="286" creationId="{792D639D-417A-4350-96F5-6C3B528BEBB9}"/>
          </ac:cxnSpMkLst>
        </pc:cxnChg>
        <pc:cxnChg chg="mod ord">
          <ac:chgData name="PROVENCHERE Sandrine" userId="ad1decff-d2ce-4d29-9d90-3591b80bc438" providerId="ADAL" clId="{1E215674-DDB3-40FF-B836-35094D8596A4}" dt="2021-04-14T15:29:00.139" v="7850"/>
          <ac:cxnSpMkLst>
            <pc:docMk/>
            <pc:sldMk cId="2715760571" sldId="311"/>
            <ac:cxnSpMk id="292" creationId="{4EB1CD05-6D2E-4B27-BE3A-C5D18551CFBC}"/>
          </ac:cxnSpMkLst>
        </pc:cxnChg>
        <pc:cxnChg chg="mod ord">
          <ac:chgData name="PROVENCHERE Sandrine" userId="ad1decff-d2ce-4d29-9d90-3591b80bc438" providerId="ADAL" clId="{1E215674-DDB3-40FF-B836-35094D8596A4}" dt="2021-04-14T15:29:00.140" v="7852"/>
          <ac:cxnSpMkLst>
            <pc:docMk/>
            <pc:sldMk cId="2715760571" sldId="311"/>
            <ac:cxnSpMk id="293" creationId="{3BD8CEDC-D973-47B5-AC94-45DBAEF262DA}"/>
          </ac:cxnSpMkLst>
        </pc:cxnChg>
        <pc:cxnChg chg="mod ord">
          <ac:chgData name="PROVENCHERE Sandrine" userId="ad1decff-d2ce-4d29-9d90-3591b80bc438" providerId="ADAL" clId="{1E215674-DDB3-40FF-B836-35094D8596A4}" dt="2021-04-14T15:29:00.141" v="7854"/>
          <ac:cxnSpMkLst>
            <pc:docMk/>
            <pc:sldMk cId="2715760571" sldId="311"/>
            <ac:cxnSpMk id="294" creationId="{4A4D7B39-E4E5-49A1-9AFF-D7FD943668B1}"/>
          </ac:cxnSpMkLst>
        </pc:cxnChg>
        <pc:cxnChg chg="mod ord">
          <ac:chgData name="PROVENCHERE Sandrine" userId="ad1decff-d2ce-4d29-9d90-3591b80bc438" providerId="ADAL" clId="{1E215674-DDB3-40FF-B836-35094D8596A4}" dt="2021-04-14T15:29:00.142" v="7856"/>
          <ac:cxnSpMkLst>
            <pc:docMk/>
            <pc:sldMk cId="2715760571" sldId="311"/>
            <ac:cxnSpMk id="295" creationId="{74B4828D-8D30-402D-8676-15BCB2E86513}"/>
          </ac:cxnSpMkLst>
        </pc:cxnChg>
        <pc:cxnChg chg="mod ord">
          <ac:chgData name="PROVENCHERE Sandrine" userId="ad1decff-d2ce-4d29-9d90-3591b80bc438" providerId="ADAL" clId="{1E215674-DDB3-40FF-B836-35094D8596A4}" dt="2021-04-14T15:29:00.112" v="7813"/>
          <ac:cxnSpMkLst>
            <pc:docMk/>
            <pc:sldMk cId="2715760571" sldId="311"/>
            <ac:cxnSpMk id="320" creationId="{F605B200-D509-4610-9158-195EB3354579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erametgroup-my.sharepoint.com/personal/sandrine_provenchere_eramet_com/Documents/06_DASHBOARD/Dashboard-Suivi-Mensuel-Aero/DASHBOARD/2021_Dashboard_march&#233;-AER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erametgroup-my.sharepoint.com/personal/sandrine_provenchere_eramet_com/Documents/06_DASHBOARD/Dashboard-Suivi-Mensuel-Aero/DASHBOARD/2021_Dashboard_march&#233;-AER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689793195463642E-2"/>
          <c:y val="0.10366398570151922"/>
          <c:w val="0.93062041360907266"/>
          <c:h val="0.849865951742627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7ED-4A38-B9A2-64A532E41F87}"/>
              </c:ext>
            </c:extLst>
          </c:dPt>
          <c:dPt>
            <c:idx val="5"/>
            <c:invertIfNegative val="0"/>
            <c:bubble3D val="0"/>
            <c:spPr>
              <a:solidFill>
                <a:srgbClr val="FDC1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7ED-4A38-B9A2-64A532E41F8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7ED-4A38-B9A2-64A532E41F87}"/>
                </c:ext>
              </c:extLst>
            </c:dLbl>
            <c:dLbl>
              <c:idx val="5"/>
              <c:layout>
                <c:manualLayout>
                  <c:x val="0"/>
                  <c:y val="-0.478105451295799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7ED-4A38-B9A2-64A532E41F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7</c:v>
                </c:pt>
                <c:pt idx="1">
                  <c:v>7</c:v>
                </c:pt>
                <c:pt idx="2">
                  <c:v>54</c:v>
                </c:pt>
                <c:pt idx="3">
                  <c:v>68</c:v>
                </c:pt>
                <c:pt idx="4">
                  <c:v>83</c:v>
                </c:pt>
                <c:pt idx="5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ED-4A38-B9A2-64A532E41F87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7ED-4A38-B9A2-64A532E41F8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7ED-4A38-B9A2-64A532E41F8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7ED-4A38-B9A2-64A532E41F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47</c:v>
                </c:pt>
                <c:pt idx="2">
                  <c:v>14</c:v>
                </c:pt>
                <c:pt idx="3">
                  <c:v>1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7ED-4A38-B9A2-64A532E41F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6460904"/>
        <c:axId val="1"/>
      </c:barChart>
      <c:catAx>
        <c:axId val="876460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76460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689793195463642E-2"/>
          <c:y val="0.10450450450450451"/>
          <c:w val="0.93062041360907266"/>
          <c:h val="0.8486486486486486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8CE-49B8-AF33-68CF528A6092}"/>
              </c:ext>
            </c:extLst>
          </c:dPt>
          <c:dPt>
            <c:idx val="5"/>
            <c:invertIfNegative val="0"/>
            <c:bubble3D val="0"/>
            <c:spPr>
              <a:solidFill>
                <a:srgbClr val="FDC1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8CE-49B8-AF33-68CF528A6092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8CE-49B8-AF33-68CF528A6092}"/>
                </c:ext>
              </c:extLst>
            </c:dLbl>
            <c:dLbl>
              <c:idx val="5"/>
              <c:layout>
                <c:manualLayout>
                  <c:x val="0"/>
                  <c:y val="-0.477477477477477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8CE-49B8-AF33-68CF528A60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453.5</c:v>
                </c:pt>
                <c:pt idx="1">
                  <c:v>453.5</c:v>
                </c:pt>
                <c:pt idx="2">
                  <c:v>469</c:v>
                </c:pt>
                <c:pt idx="3">
                  <c:v>480</c:v>
                </c:pt>
                <c:pt idx="4">
                  <c:v>503</c:v>
                </c:pt>
                <c:pt idx="5">
                  <c:v>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CE-49B8-AF33-68CF528A609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8CE-49B8-AF33-68CF528A60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15.5</c:v>
                </c:pt>
                <c:pt idx="2">
                  <c:v>11</c:v>
                </c:pt>
                <c:pt idx="3">
                  <c:v>23</c:v>
                </c:pt>
                <c:pt idx="4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8CE-49B8-AF33-68CF528A60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6499936"/>
        <c:axId val="1"/>
      </c:barChart>
      <c:catAx>
        <c:axId val="876499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76499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76338514680483"/>
          <c:y val="5.0621669626998225E-2"/>
          <c:w val="0.86917098445595853"/>
          <c:h val="0.89875666074600358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7633851468048358E-2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903-45A5-A702-B943A9D88F36}"/>
                </c:ext>
              </c:extLst>
            </c:dLbl>
            <c:dLbl>
              <c:idx val="1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903-45A5-A702-B943A9D88F36}"/>
                </c:ext>
              </c:extLst>
            </c:dLbl>
            <c:dLbl>
              <c:idx val="2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903-45A5-A702-B943A9D88F36}"/>
                </c:ext>
              </c:extLst>
            </c:dLbl>
            <c:dLbl>
              <c:idx val="3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903-45A5-A702-B943A9D88F36}"/>
                </c:ext>
              </c:extLst>
            </c:dLbl>
            <c:dLbl>
              <c:idx val="4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903-45A5-A702-B943A9D88F36}"/>
                </c:ext>
              </c:extLst>
            </c:dLbl>
            <c:dLbl>
              <c:idx val="5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903-45A5-A702-B943A9D88F36}"/>
                </c:ext>
              </c:extLst>
            </c:dLbl>
            <c:dLbl>
              <c:idx val="6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903-45A5-A702-B943A9D88F36}"/>
                </c:ext>
              </c:extLst>
            </c:dLbl>
            <c:dLbl>
              <c:idx val="7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903-45A5-A702-B943A9D88F36}"/>
                </c:ext>
              </c:extLst>
            </c:dLbl>
            <c:dLbl>
              <c:idx val="8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903-45A5-A702-B943A9D88F36}"/>
                </c:ext>
              </c:extLst>
            </c:dLbl>
            <c:dLbl>
              <c:idx val="10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903-45A5-A702-B943A9D88F36}"/>
                </c:ext>
              </c:extLst>
            </c:dLbl>
            <c:dLbl>
              <c:idx val="12"/>
              <c:layout>
                <c:manualLayout>
                  <c:x val="0"/>
                  <c:y val="-6.6607460035523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903-45A5-A702-B943A9D88F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36</c:v>
                </c:pt>
                <c:pt idx="1">
                  <c:v>14</c:v>
                </c:pt>
                <c:pt idx="2">
                  <c:v>24</c:v>
                </c:pt>
                <c:pt idx="3">
                  <c:v>36</c:v>
                </c:pt>
                <c:pt idx="4">
                  <c:v>49</c:v>
                </c:pt>
                <c:pt idx="5">
                  <c:v>39</c:v>
                </c:pt>
                <c:pt idx="6">
                  <c:v>57</c:v>
                </c:pt>
                <c:pt idx="7">
                  <c:v>72</c:v>
                </c:pt>
                <c:pt idx="8">
                  <c:v>64</c:v>
                </c:pt>
                <c:pt idx="9">
                  <c:v>89</c:v>
                </c:pt>
                <c:pt idx="10">
                  <c:v>125</c:v>
                </c:pt>
                <c:pt idx="11">
                  <c:v>32</c:v>
                </c:pt>
                <c:pt idx="12">
                  <c:v>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903-45A5-A702-B943A9D88F36}"/>
            </c:ext>
          </c:extLst>
        </c:ser>
        <c:ser>
          <c:idx val="1"/>
          <c:order val="1"/>
          <c:spPr>
            <a:ln w="3175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val>
            <c:numRef>
              <c:f>Sheet1!$A$2:$M$2</c:f>
              <c:numCache>
                <c:formatCode>General</c:formatCode>
                <c:ptCount val="13"/>
                <c:pt idx="0">
                  <c:v>30</c:v>
                </c:pt>
                <c:pt idx="1">
                  <c:v>12</c:v>
                </c:pt>
                <c:pt idx="2">
                  <c:v>18</c:v>
                </c:pt>
                <c:pt idx="3">
                  <c:v>31</c:v>
                </c:pt>
                <c:pt idx="4">
                  <c:v>47</c:v>
                </c:pt>
                <c:pt idx="5">
                  <c:v>35</c:v>
                </c:pt>
                <c:pt idx="6">
                  <c:v>43</c:v>
                </c:pt>
                <c:pt idx="7">
                  <c:v>43</c:v>
                </c:pt>
                <c:pt idx="8">
                  <c:v>54</c:v>
                </c:pt>
                <c:pt idx="9">
                  <c:v>67</c:v>
                </c:pt>
                <c:pt idx="10">
                  <c:v>104</c:v>
                </c:pt>
                <c:pt idx="11">
                  <c:v>29</c:v>
                </c:pt>
                <c:pt idx="12">
                  <c:v>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903-45A5-A702-B943A9D88F36}"/>
            </c:ext>
          </c:extLst>
        </c:ser>
        <c:ser>
          <c:idx val="2"/>
          <c:order val="2"/>
          <c:spPr>
            <a:ln w="19050" algn="ctr">
              <a:solidFill>
                <a:schemeClr val="accent1"/>
              </a:solidFill>
              <a:prstDash val="lgDash"/>
            </a:ln>
          </c:spPr>
          <c:marker>
            <c:symbol val="none"/>
          </c:marker>
          <c:val>
            <c:numRef>
              <c:f>Sheet1!$A$3:$M$3</c:f>
              <c:numCache>
                <c:formatCode>General</c:formatCode>
                <c:ptCount val="13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2903-45A5-A702-B943A9D88F36}"/>
            </c:ext>
          </c:extLst>
        </c:ser>
        <c:ser>
          <c:idx val="3"/>
          <c:order val="3"/>
          <c:spPr>
            <a:ln w="3175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val>
            <c:numRef>
              <c:f>Sheet1!$A$4:$M$4</c:f>
              <c:numCache>
                <c:formatCode>General</c:formatCode>
                <c:ptCount val="13"/>
                <c:pt idx="0">
                  <c:v>3</c:v>
                </c:pt>
                <c:pt idx="1">
                  <c:v>1</c:v>
                </c:pt>
                <c:pt idx="2">
                  <c:v>4</c:v>
                </c:pt>
                <c:pt idx="3">
                  <c:v>4</c:v>
                </c:pt>
                <c:pt idx="4">
                  <c:v>0</c:v>
                </c:pt>
                <c:pt idx="5">
                  <c:v>2</c:v>
                </c:pt>
                <c:pt idx="6">
                  <c:v>7</c:v>
                </c:pt>
                <c:pt idx="7">
                  <c:v>12</c:v>
                </c:pt>
                <c:pt idx="8">
                  <c:v>7</c:v>
                </c:pt>
                <c:pt idx="9">
                  <c:v>8</c:v>
                </c:pt>
                <c:pt idx="10">
                  <c:v>10</c:v>
                </c:pt>
                <c:pt idx="11">
                  <c:v>1</c:v>
                </c:pt>
                <c:pt idx="12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903-45A5-A702-B943A9D88F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98451752"/>
        <c:axId val="1"/>
      </c:lineChart>
      <c:catAx>
        <c:axId val="1098451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>
                <a:solidFill>
                  <a:schemeClr val="tx2"/>
                </a:solidFill>
                <a:latin typeface="Calibri"/>
                <a:ea typeface="+mn-ea"/>
                <a:cs typeface="Calibri"/>
                <a:sym typeface="Calibri"/>
              </a:defRPr>
            </a:pPr>
            <a:endParaRPr lang="fr-FR"/>
          </a:p>
        </c:txPr>
        <c:crossAx val="1098451752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596491228070173E-2"/>
          <c:y val="7.5286415711947621E-2"/>
          <c:w val="0.88289473684210529"/>
          <c:h val="0.87806873977086741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070175438596492E-2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061-4081-AEA0-5AEB93A2E0D3}"/>
                </c:ext>
              </c:extLst>
            </c:dLbl>
            <c:dLbl>
              <c:idx val="1"/>
              <c:layout>
                <c:manualLayout>
                  <c:x val="0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061-4081-AEA0-5AEB93A2E0D3}"/>
                </c:ext>
              </c:extLst>
            </c:dLbl>
            <c:dLbl>
              <c:idx val="2"/>
              <c:layout>
                <c:manualLayout>
                  <c:x val="0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061-4081-AEA0-5AEB93A2E0D3}"/>
                </c:ext>
              </c:extLst>
            </c:dLbl>
            <c:dLbl>
              <c:idx val="3"/>
              <c:layout>
                <c:manualLayout>
                  <c:x val="0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061-4081-AEA0-5AEB93A2E0D3}"/>
                </c:ext>
              </c:extLst>
            </c:dLbl>
            <c:dLbl>
              <c:idx val="4"/>
              <c:layout>
                <c:manualLayout>
                  <c:x val="0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061-4081-AEA0-5AEB93A2E0D3}"/>
                </c:ext>
              </c:extLst>
            </c:dLbl>
            <c:dLbl>
              <c:idx val="5"/>
              <c:layout>
                <c:manualLayout>
                  <c:x val="0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061-4081-AEA0-5AEB93A2E0D3}"/>
                </c:ext>
              </c:extLst>
            </c:dLbl>
            <c:dLbl>
              <c:idx val="6"/>
              <c:layout>
                <c:manualLayout>
                  <c:x val="0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061-4081-AEA0-5AEB93A2E0D3}"/>
                </c:ext>
              </c:extLst>
            </c:dLbl>
            <c:dLbl>
              <c:idx val="7"/>
              <c:layout>
                <c:manualLayout>
                  <c:x val="0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061-4081-AEA0-5AEB93A2E0D3}"/>
                </c:ext>
              </c:extLst>
            </c:dLbl>
            <c:dLbl>
              <c:idx val="10"/>
              <c:layout>
                <c:manualLayout>
                  <c:x val="0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061-4081-AEA0-5AEB93A2E0D3}"/>
                </c:ext>
              </c:extLst>
            </c:dLbl>
            <c:dLbl>
              <c:idx val="12"/>
              <c:layout>
                <c:manualLayout>
                  <c:x val="0"/>
                  <c:y val="-6.137479541734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061-4081-AEA0-5AEB93A2E0D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20</c:v>
                </c:pt>
                <c:pt idx="1">
                  <c:v>6</c:v>
                </c:pt>
                <c:pt idx="2">
                  <c:v>4</c:v>
                </c:pt>
                <c:pt idx="3">
                  <c:v>10</c:v>
                </c:pt>
                <c:pt idx="4">
                  <c:v>4</c:v>
                </c:pt>
                <c:pt idx="5">
                  <c:v>13</c:v>
                </c:pt>
                <c:pt idx="6">
                  <c:v>11</c:v>
                </c:pt>
                <c:pt idx="7">
                  <c:v>13</c:v>
                </c:pt>
                <c:pt idx="8">
                  <c:v>7</c:v>
                </c:pt>
                <c:pt idx="9">
                  <c:v>39</c:v>
                </c:pt>
                <c:pt idx="10">
                  <c:v>77</c:v>
                </c:pt>
                <c:pt idx="11">
                  <c:v>22</c:v>
                </c:pt>
                <c:pt idx="12">
                  <c:v>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E061-4081-AEA0-5AEB93A2E0D3}"/>
            </c:ext>
          </c:extLst>
        </c:ser>
        <c:ser>
          <c:idx val="1"/>
          <c:order val="1"/>
          <c:spPr>
            <a:ln w="3175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val>
            <c:numRef>
              <c:f>Sheet1!$A$2:$M$2</c:f>
              <c:numCache>
                <c:formatCode>General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8</c:v>
                </c:pt>
                <c:pt idx="10">
                  <c:v>63</c:v>
                </c:pt>
                <c:pt idx="11">
                  <c:v>19</c:v>
                </c:pt>
                <c:pt idx="12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E061-4081-AEA0-5AEB93A2E0D3}"/>
            </c:ext>
          </c:extLst>
        </c:ser>
        <c:ser>
          <c:idx val="2"/>
          <c:order val="2"/>
          <c:spPr>
            <a:ln w="19050" algn="ctr">
              <a:solidFill>
                <a:schemeClr val="accent1"/>
              </a:solidFill>
              <a:prstDash val="lgDash"/>
            </a:ln>
          </c:spPr>
          <c:marker>
            <c:symbol val="none"/>
          </c:marker>
          <c:val>
            <c:numRef>
              <c:f>Sheet1!$A$3:$M$3</c:f>
              <c:numCache>
                <c:formatCode>General</c:formatCode>
                <c:ptCount val="13"/>
                <c:pt idx="0">
                  <c:v>3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1</c:v>
                </c:pt>
                <c:pt idx="7">
                  <c:v>4</c:v>
                </c:pt>
                <c:pt idx="8">
                  <c:v>3</c:v>
                </c:pt>
                <c:pt idx="9">
                  <c:v>4</c:v>
                </c:pt>
                <c:pt idx="10">
                  <c:v>6</c:v>
                </c:pt>
                <c:pt idx="11">
                  <c:v>1</c:v>
                </c:pt>
                <c:pt idx="1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061-4081-AEA0-5AEB93A2E0D3}"/>
            </c:ext>
          </c:extLst>
        </c:ser>
        <c:ser>
          <c:idx val="3"/>
          <c:order val="3"/>
          <c:spPr>
            <a:ln w="3175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val>
            <c:numRef>
              <c:f>Sheet1!$A$4:$M$4</c:f>
              <c:numCache>
                <c:formatCode>General</c:formatCode>
                <c:ptCount val="13"/>
                <c:pt idx="0">
                  <c:v>11</c:v>
                </c:pt>
                <c:pt idx="1">
                  <c:v>4</c:v>
                </c:pt>
                <c:pt idx="2">
                  <c:v>0</c:v>
                </c:pt>
                <c:pt idx="3">
                  <c:v>3</c:v>
                </c:pt>
                <c:pt idx="4">
                  <c:v>2</c:v>
                </c:pt>
                <c:pt idx="5">
                  <c:v>4</c:v>
                </c:pt>
                <c:pt idx="6">
                  <c:v>7</c:v>
                </c:pt>
                <c:pt idx="7">
                  <c:v>4</c:v>
                </c:pt>
                <c:pt idx="8">
                  <c:v>0</c:v>
                </c:pt>
                <c:pt idx="9">
                  <c:v>0</c:v>
                </c:pt>
                <c:pt idx="10">
                  <c:v>2</c:v>
                </c:pt>
                <c:pt idx="11">
                  <c:v>0</c:v>
                </c:pt>
                <c:pt idx="1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E061-4081-AEA0-5AEB93A2E0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76448440"/>
        <c:axId val="1"/>
      </c:lineChart>
      <c:catAx>
        <c:axId val="876448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lang="fr-FR"/>
          </a:p>
        </c:txPr>
        <c:crossAx val="876448440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31635673187485"/>
          <c:y val="6.0233612273361227E-3"/>
          <c:w val="0.60529543994861912"/>
          <c:h val="0.892551892551892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GRAPHIQUES!$B$36</c:f>
              <c:strCache>
                <c:ptCount val="1"/>
                <c:pt idx="0">
                  <c:v>Commandes Brutes YT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37:$A$44</c:f>
              <c:strCache>
                <c:ptCount val="8"/>
                <c:pt idx="0">
                  <c:v>A220</c:v>
                </c:pt>
                <c:pt idx="1">
                  <c:v>A319 NEO</c:v>
                </c:pt>
                <c:pt idx="2">
                  <c:v>A320 NEO</c:v>
                </c:pt>
                <c:pt idx="3">
                  <c:v>A321 NEO</c:v>
                </c:pt>
                <c:pt idx="4">
                  <c:v>A330 NEO</c:v>
                </c:pt>
                <c:pt idx="5">
                  <c:v>A350</c:v>
                </c:pt>
                <c:pt idx="6">
                  <c:v>A380</c:v>
                </c:pt>
                <c:pt idx="7">
                  <c:v>TOTAL</c:v>
                </c:pt>
              </c:strCache>
            </c:strRef>
          </c:cat>
          <c:val>
            <c:numRef>
              <c:f>GRAPHIQUES!$B$37:$B$44</c:f>
              <c:numCache>
                <c:formatCode>General</c:formatCode>
                <c:ptCount val="8"/>
                <c:pt idx="0">
                  <c:v>20</c:v>
                </c:pt>
                <c:pt idx="1">
                  <c:v>0</c:v>
                </c:pt>
                <c:pt idx="2">
                  <c:v>14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08-45D9-9439-16F443A99434}"/>
            </c:ext>
          </c:extLst>
        </c:ser>
        <c:ser>
          <c:idx val="1"/>
          <c:order val="1"/>
          <c:tx>
            <c:strRef>
              <c:f>GRAPHIQUES!$C$36</c:f>
              <c:strCache>
                <c:ptCount val="1"/>
                <c:pt idx="0">
                  <c:v>Annulation YTD</c:v>
                </c:pt>
              </c:strCache>
            </c:strRef>
          </c:tx>
          <c:spPr>
            <a:solidFill>
              <a:srgbClr val="9396B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37:$A$44</c:f>
              <c:strCache>
                <c:ptCount val="8"/>
                <c:pt idx="0">
                  <c:v>A220</c:v>
                </c:pt>
                <c:pt idx="1">
                  <c:v>A319 NEO</c:v>
                </c:pt>
                <c:pt idx="2">
                  <c:v>A320 NEO</c:v>
                </c:pt>
                <c:pt idx="3">
                  <c:v>A321 NEO</c:v>
                </c:pt>
                <c:pt idx="4">
                  <c:v>A330 NEO</c:v>
                </c:pt>
                <c:pt idx="5">
                  <c:v>A350</c:v>
                </c:pt>
                <c:pt idx="6">
                  <c:v>A380</c:v>
                </c:pt>
                <c:pt idx="7">
                  <c:v>TOTAL</c:v>
                </c:pt>
              </c:strCache>
            </c:strRef>
          </c:cat>
          <c:val>
            <c:numRef>
              <c:f>GRAPHIQUES!$C$37:$C$44</c:f>
              <c:numCache>
                <c:formatCode>General</c:formatCode>
                <c:ptCount val="8"/>
                <c:pt idx="0">
                  <c:v>-1</c:v>
                </c:pt>
                <c:pt idx="1">
                  <c:v>0</c:v>
                </c:pt>
                <c:pt idx="2">
                  <c:v>-64</c:v>
                </c:pt>
                <c:pt idx="3">
                  <c:v>-33</c:v>
                </c:pt>
                <c:pt idx="4">
                  <c:v>0</c:v>
                </c:pt>
                <c:pt idx="5">
                  <c:v>-2</c:v>
                </c:pt>
                <c:pt idx="6">
                  <c:v>0</c:v>
                </c:pt>
                <c:pt idx="7">
                  <c:v>-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08-45D9-9439-16F443A9943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839199720"/>
        <c:axId val="769388208"/>
      </c:barChart>
      <c:catAx>
        <c:axId val="8391997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769388208"/>
        <c:crosses val="autoZero"/>
        <c:auto val="1"/>
        <c:lblAlgn val="ctr"/>
        <c:lblOffset val="100"/>
        <c:noMultiLvlLbl val="0"/>
      </c:catAx>
      <c:valAx>
        <c:axId val="769388208"/>
        <c:scaling>
          <c:orientation val="minMax"/>
        </c:scaling>
        <c:delete val="1"/>
        <c:axPos val="t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39199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2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60549132947978"/>
          <c:y val="4.6284286378428637E-2"/>
          <c:w val="0.70531711624919713"/>
          <c:h val="0.9315748489074848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46:$A$53</c:f>
              <c:strCache>
                <c:ptCount val="8"/>
                <c:pt idx="0">
                  <c:v>737 NG</c:v>
                </c:pt>
                <c:pt idx="1">
                  <c:v>737MAX</c:v>
                </c:pt>
                <c:pt idx="2">
                  <c:v>747</c:v>
                </c:pt>
                <c:pt idx="3">
                  <c:v>767</c:v>
                </c:pt>
                <c:pt idx="4">
                  <c:v>777</c:v>
                </c:pt>
                <c:pt idx="5">
                  <c:v>777X</c:v>
                </c:pt>
                <c:pt idx="6">
                  <c:v>787</c:v>
                </c:pt>
                <c:pt idx="7">
                  <c:v>TOTAL</c:v>
                </c:pt>
              </c:strCache>
            </c:strRef>
          </c:cat>
          <c:val>
            <c:numRef>
              <c:f>GRAPHIQUES!$B$46:$B$53</c:f>
              <c:numCache>
                <c:formatCode>General</c:formatCode>
                <c:ptCount val="8"/>
                <c:pt idx="0">
                  <c:v>0</c:v>
                </c:pt>
                <c:pt idx="1">
                  <c:v>235</c:v>
                </c:pt>
                <c:pt idx="2">
                  <c:v>5</c:v>
                </c:pt>
                <c:pt idx="3">
                  <c:v>27</c:v>
                </c:pt>
                <c:pt idx="4">
                  <c:v>0</c:v>
                </c:pt>
                <c:pt idx="5">
                  <c:v>11</c:v>
                </c:pt>
                <c:pt idx="6">
                  <c:v>4</c:v>
                </c:pt>
                <c:pt idx="7">
                  <c:v>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B1-4DDA-A998-F4ACC2E215EE}"/>
            </c:ext>
          </c:extLst>
        </c:ser>
        <c:ser>
          <c:idx val="1"/>
          <c:order val="1"/>
          <c:spPr>
            <a:solidFill>
              <a:srgbClr val="9396B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DB1-4DDA-A998-F4ACC2E215EE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DB1-4DDA-A998-F4ACC2E215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IQUES!$A$46:$A$53</c:f>
              <c:strCache>
                <c:ptCount val="8"/>
                <c:pt idx="0">
                  <c:v>737 NG</c:v>
                </c:pt>
                <c:pt idx="1">
                  <c:v>737MAX</c:v>
                </c:pt>
                <c:pt idx="2">
                  <c:v>747</c:v>
                </c:pt>
                <c:pt idx="3">
                  <c:v>767</c:v>
                </c:pt>
                <c:pt idx="4">
                  <c:v>777</c:v>
                </c:pt>
                <c:pt idx="5">
                  <c:v>777X</c:v>
                </c:pt>
                <c:pt idx="6">
                  <c:v>787</c:v>
                </c:pt>
                <c:pt idx="7">
                  <c:v>TOTAL</c:v>
                </c:pt>
              </c:strCache>
            </c:strRef>
          </c:cat>
          <c:val>
            <c:numRef>
              <c:f>GRAPHIQUES!$C$46:$C$53</c:f>
              <c:numCache>
                <c:formatCode>General</c:formatCode>
                <c:ptCount val="8"/>
                <c:pt idx="0">
                  <c:v>0</c:v>
                </c:pt>
                <c:pt idx="1">
                  <c:v>-190</c:v>
                </c:pt>
                <c:pt idx="2">
                  <c:v>-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-20</c:v>
                </c:pt>
                <c:pt idx="7">
                  <c:v>-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B1-4DDA-A998-F4ACC2E215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1092172992"/>
        <c:axId val="1092172008"/>
      </c:barChart>
      <c:catAx>
        <c:axId val="10921729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1092172008"/>
        <c:crosses val="autoZero"/>
        <c:auto val="1"/>
        <c:lblAlgn val="ctr"/>
        <c:lblOffset val="100"/>
        <c:noMultiLvlLbl val="0"/>
      </c:catAx>
      <c:valAx>
        <c:axId val="109217200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09217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2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634095634095639E-2"/>
          <c:y val="3.6061026352288486E-2"/>
          <c:w val="0.86832986832986836"/>
          <c:h val="0.92787794729542306"/>
        </c:manualLayout>
      </c:layout>
      <c:barChart>
        <c:barDir val="bar"/>
        <c:grouping val="clustered"/>
        <c:varyColors val="0"/>
        <c:ser>
          <c:idx val="0"/>
          <c:order val="0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6.930006930006929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F2F-4A3B-B702-3B2A7EDE90C3}"/>
                </c:ext>
              </c:extLst>
            </c:dLbl>
            <c:dLbl>
              <c:idx val="1"/>
              <c:layout>
                <c:manualLayout>
                  <c:x val="0.4816354816354816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F2F-4A3B-B702-3B2A7EDE90C3}"/>
                </c:ext>
              </c:extLst>
            </c:dLbl>
            <c:dLbl>
              <c:idx val="2"/>
              <c:layout>
                <c:manualLayout>
                  <c:x val="2.633402633402633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F2F-4A3B-B702-3B2A7EDE90C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</c:v>
                </c:pt>
                <c:pt idx="1">
                  <c:v>40</c:v>
                </c:pt>
                <c:pt idx="2">
                  <c:v>2</c:v>
                </c:pt>
                <c:pt idx="3">
                  <c:v>4.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F2F-4A3B-B702-3B2A7EDE90C3}"/>
            </c:ext>
          </c:extLst>
        </c:ser>
        <c:ser>
          <c:idx val="1"/>
          <c:order val="1"/>
          <c:spPr>
            <a:solidFill>
              <a:srgbClr val="44546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6.930006930006929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F2F-4A3B-B702-3B2A7EDE90C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4</c:v>
                </c:pt>
                <c:pt idx="1">
                  <c:v>40</c:v>
                </c:pt>
                <c:pt idx="2">
                  <c:v>2</c:v>
                </c:pt>
                <c:pt idx="3">
                  <c:v>4.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F2F-4A3B-B702-3B2A7EDE90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78299968"/>
        <c:axId val="1"/>
      </c:barChart>
      <c:catAx>
        <c:axId val="978299968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4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782999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036036036036036E-2"/>
          <c:y val="3.6061026352288486E-2"/>
          <c:w val="0.86832986832986836"/>
          <c:h val="0.92787794729542306"/>
        </c:manualLayout>
      </c:layout>
      <c:barChart>
        <c:barDir val="bar"/>
        <c:grouping val="clustered"/>
        <c:varyColors val="0"/>
        <c:ser>
          <c:idx val="0"/>
          <c:order val="0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483714483714483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44E-418C-98B0-8E8C95D8609C}"/>
                </c:ext>
              </c:extLst>
            </c:dLbl>
            <c:dLbl>
              <c:idx val="3"/>
              <c:layout>
                <c:manualLayout>
                  <c:x val="9.9792099792099798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44E-418C-98B0-8E8C95D8609C}"/>
                </c:ext>
              </c:extLst>
            </c:dLbl>
            <c:dLbl>
              <c:idx val="5"/>
              <c:layout>
                <c:manualLayout>
                  <c:x val="0.199584199584199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>
                          <a:lumMod val="75000"/>
                        </a:schemeClr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44E-418C-98B0-8E8C95D860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2</c:v>
                </c:pt>
                <c:pt idx="1">
                  <c:v>0.5</c:v>
                </c:pt>
                <c:pt idx="2">
                  <c:v>3</c:v>
                </c:pt>
                <c:pt idx="3">
                  <c:v>2</c:v>
                </c:pt>
                <c:pt idx="4">
                  <c:v>0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4E-418C-98B0-8E8C95D8609C}"/>
            </c:ext>
          </c:extLst>
        </c:ser>
        <c:ser>
          <c:idx val="1"/>
          <c:order val="1"/>
          <c:spPr>
            <a:solidFill>
              <a:srgbClr val="44546A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44E-418C-98B0-8E8C95D8609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44E-418C-98B0-8E8C95D8609C}"/>
              </c:ext>
            </c:extLst>
          </c:dPt>
          <c:dLbls>
            <c:dLbl>
              <c:idx val="0"/>
              <c:layout>
                <c:manualLayout>
                  <c:x val="0.480942480942480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44E-418C-98B0-8E8C95D8609C}"/>
                </c:ext>
              </c:extLst>
            </c:dLbl>
            <c:dLbl>
              <c:idx val="3"/>
              <c:layout>
                <c:manualLayout>
                  <c:x val="9.9792099792099798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44E-418C-98B0-8E8C95D8609C}"/>
                </c:ext>
              </c:extLst>
            </c:dLbl>
            <c:dLbl>
              <c:idx val="5"/>
              <c:layout>
                <c:manualLayout>
                  <c:x val="0.199584199584199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2"/>
                      </a:solidFill>
                      <a:latin typeface="Calibri"/>
                      <a:ea typeface="+mn-ea"/>
                      <a:cs typeface="Calibri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44E-418C-98B0-8E8C95D860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3</c:v>
                </c:pt>
                <c:pt idx="1">
                  <c:v>0.5</c:v>
                </c:pt>
                <c:pt idx="2">
                  <c:v>3</c:v>
                </c:pt>
                <c:pt idx="3">
                  <c:v>2</c:v>
                </c:pt>
                <c:pt idx="4">
                  <c:v>0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44E-418C-98B0-8E8C95D86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65410424"/>
        <c:axId val="1"/>
      </c:barChart>
      <c:catAx>
        <c:axId val="8654104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654104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3-14T14:20:52.041" idx="3">
    <p:pos x="1613" y="1516"/>
    <p:text>La totalité des commandes et des annulations concerne le 737 MAX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F240388-6464-4895-887B-B237F5325D0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5B57CC-6F0C-46CE-BF3A-B9403BC1E3F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30CD56-397E-47D2-B48C-3A5E81C3739D}" type="datetimeFigureOut">
              <a:rPr lang="fr-FR" smtClean="0"/>
              <a:t>14/04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06D7634-2910-4F62-96B4-EB9254B4BA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3299A40-0835-44DD-8B29-CEAB9E3B04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965E39-BAE1-4D28-A36F-AAE1FA28C9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7192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FF5EBF-8145-475B-9597-E7E1FE5F1E58}" type="datetimeFigureOut">
              <a:rPr lang="fr-FR" smtClean="0"/>
              <a:t>14/04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E666B4-33A2-4D1C-9D02-4931444BF2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1704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7561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E666B4-33A2-4D1C-9D02-4931444BF20F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1763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jpg"/><Relationship Id="rId4" Type="http://schemas.openxmlformats.org/officeDocument/2006/relationships/image" Target="../media/image9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20499" y="494312"/>
            <a:ext cx="4084067" cy="1260000"/>
          </a:xfrm>
          <a:prstGeom prst="rect">
            <a:avLst/>
          </a:prstGeom>
        </p:spPr>
      </p:pic>
      <p:grpSp>
        <p:nvGrpSpPr>
          <p:cNvPr id="51" name="Groupe 50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5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10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10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10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10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11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11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11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11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11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11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11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12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12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13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13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13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133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8688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5564287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7381156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09307394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11510256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720000" y="972102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7366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1149451" y="6192682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886197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5330138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207886487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72856038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8802443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5740791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859405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99783089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262580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23362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43963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381014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sp>
        <p:nvSpPr>
          <p:cNvPr id="16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20809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13" name="Groupe 12"/>
          <p:cNvGrpSpPr/>
          <p:nvPr/>
        </p:nvGrpSpPr>
        <p:grpSpPr>
          <a:xfrm>
            <a:off x="3362508" y="2559571"/>
            <a:ext cx="5466984" cy="900000"/>
            <a:chOff x="3580474" y="2559571"/>
            <a:chExt cx="4100238" cy="900000"/>
          </a:xfrm>
        </p:grpSpPr>
        <p:pic>
          <p:nvPicPr>
            <p:cNvPr id="14" name="Image 1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0474" y="2559571"/>
              <a:ext cx="1983052" cy="900000"/>
            </a:xfrm>
            <a:prstGeom prst="rect">
              <a:avLst/>
            </a:prstGeom>
          </p:spPr>
        </p:pic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0712" y="2643635"/>
              <a:ext cx="1980000" cy="731871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32746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grpSp>
        <p:nvGrpSpPr>
          <p:cNvPr id="14" name="Groupe 13"/>
          <p:cNvGrpSpPr/>
          <p:nvPr/>
        </p:nvGrpSpPr>
        <p:grpSpPr>
          <a:xfrm>
            <a:off x="3362508" y="2559571"/>
            <a:ext cx="5466984" cy="900000"/>
            <a:chOff x="3580474" y="2559571"/>
            <a:chExt cx="4100238" cy="900000"/>
          </a:xfrm>
        </p:grpSpPr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0474" y="2559571"/>
              <a:ext cx="1983052" cy="900000"/>
            </a:xfrm>
            <a:prstGeom prst="rect">
              <a:avLst/>
            </a:prstGeom>
          </p:spPr>
        </p:pic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0712" y="2643635"/>
              <a:ext cx="1980000" cy="731871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32345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grpSp>
        <p:nvGrpSpPr>
          <p:cNvPr id="12" name="Groupe 11"/>
          <p:cNvGrpSpPr/>
          <p:nvPr/>
        </p:nvGrpSpPr>
        <p:grpSpPr>
          <a:xfrm>
            <a:off x="3228040" y="2556656"/>
            <a:ext cx="5040376" cy="900000"/>
            <a:chOff x="2421030" y="2556656"/>
            <a:chExt cx="3780282" cy="900000"/>
          </a:xfrm>
        </p:grpSpPr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1030" y="2556656"/>
              <a:ext cx="1983050" cy="900000"/>
            </a:xfrm>
            <a:prstGeom prst="rect">
              <a:avLst/>
            </a:prstGeom>
          </p:spPr>
        </p:pic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07151" y="2556656"/>
              <a:ext cx="1594161" cy="881770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015152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16" name="Groupe 15"/>
          <p:cNvGrpSpPr/>
          <p:nvPr/>
        </p:nvGrpSpPr>
        <p:grpSpPr>
          <a:xfrm>
            <a:off x="3228040" y="2556656"/>
            <a:ext cx="5040376" cy="900000"/>
            <a:chOff x="2421030" y="2556656"/>
            <a:chExt cx="3780282" cy="900000"/>
          </a:xfrm>
        </p:grpSpPr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1030" y="2556656"/>
              <a:ext cx="1983050" cy="900000"/>
            </a:xfrm>
            <a:prstGeom prst="rect">
              <a:avLst/>
            </a:prstGeom>
          </p:spPr>
        </p:pic>
        <p:pic>
          <p:nvPicPr>
            <p:cNvPr id="18" name="Image 1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07151" y="2556656"/>
              <a:ext cx="1594161" cy="881770"/>
            </a:xfrm>
            <a:prstGeom prst="rect">
              <a:avLst/>
            </a:prstGeom>
          </p:spPr>
        </p:pic>
      </p:grp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432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2964395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6488027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_USER_LAYOUT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14B2974B-E0D1-4147-81B9-1E7428B8B1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053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14B2974B-E0D1-4147-81B9-1E7428B8B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6D3BA-57F2-4D42-81EE-81AD931330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94422CB1-7BB3-4466-90D4-DB18383BEC2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CF4EB3FB-D647-40B8-AA8F-1FB63E0927D6}"/>
              </a:ext>
            </a:extLst>
          </p:cNvPr>
          <p:cNvCxnSpPr/>
          <p:nvPr userDrawn="1"/>
        </p:nvCxnSpPr>
        <p:spPr bwMode="gray">
          <a:xfrm>
            <a:off x="720000" y="88724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45AE510-8A8E-498B-85E8-6B8737316B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C7BF123-7212-46C1-8A11-D535586F733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96E3679-0E43-4B70-BF4D-1F4AD3DC09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13666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3302820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16617235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26214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9160822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774194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20499" y="494312"/>
            <a:ext cx="4084067" cy="12600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5088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47796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192682"/>
            <a:ext cx="432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78890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4"/>
            <a:ext cx="2567124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43588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4"/>
            <a:ext cx="2567124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67584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3"/>
            <a:ext cx="2567124" cy="7920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0508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14138" y="5542603"/>
            <a:ext cx="2567124" cy="792000"/>
          </a:xfrm>
          <a:prstGeom prst="rect">
            <a:avLst/>
          </a:prstGeom>
        </p:spPr>
      </p:pic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28881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8" y="2206800"/>
            <a:ext cx="4084067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7586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8" y="2206800"/>
            <a:ext cx="4084067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0632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9" y="2206800"/>
            <a:ext cx="4084068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95515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52449" y="2206800"/>
            <a:ext cx="4084068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2598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20499" y="494312"/>
            <a:ext cx="4084068" cy="1260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26109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9017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F2AA1F-DED7-450C-9764-41F0A8555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C3AFB3B-8302-46D1-9911-E790A345F8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EA88D6C-E4E2-4BD5-9564-C4D52D5D5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B0B37DE-BC0E-4CC4-88AC-2E0085B9F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1A91DDF-0D72-49DC-888B-0989913A5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19202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grpSp>
        <p:nvGrpSpPr>
          <p:cNvPr id="56" name="Groupe 55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7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8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4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5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6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7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8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9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0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1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2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5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6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7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8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1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2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3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4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7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60986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89920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6"/>
            <a:ext cx="2644067" cy="899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74745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6"/>
            <a:ext cx="2644067" cy="899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16202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4749666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3331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02242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2053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53" name="Picture 140">
            <a:extLst>
              <a:ext uri="{FF2B5EF4-FFF2-40B4-BE49-F238E27FC236}">
                <a16:creationId xmlns:a16="http://schemas.microsoft.com/office/drawing/2014/main" id="{89C50E65-71C2-4092-B817-9ADBA8AF5F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17585" y="455899"/>
            <a:ext cx="3485755" cy="1433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6098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0833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2093474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2231599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73197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1048610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7366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1149451" y="6192682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236E6DC2-9AA3-4865-86FB-F32D85B3DE54}"/>
              </a:ext>
            </a:extLst>
          </p:cNvPr>
          <p:cNvCxnSpPr/>
          <p:nvPr userDrawn="1"/>
        </p:nvCxnSpPr>
        <p:spPr bwMode="gray">
          <a:xfrm>
            <a:off x="720000" y="901528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6551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9553553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4547416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487518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4257655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1846723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687106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461116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>
          <a:xfrm>
            <a:off x="1149451" y="6332026"/>
            <a:ext cx="4560000" cy="440684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>
          <a:xfrm>
            <a:off x="719401" y="6332026"/>
            <a:ext cx="384044" cy="440684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056776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2"/>
            <a:ext cx="1903728" cy="648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23238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3" y="5968402"/>
            <a:ext cx="2100379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2"/>
            <a:ext cx="1903728" cy="6480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13777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3"/>
            <a:ext cx="1903728" cy="647999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0353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97004" y="5968402"/>
            <a:ext cx="2100377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52" y="5981783"/>
            <a:ext cx="1903728" cy="647999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3429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6" y="2559571"/>
            <a:ext cx="2644069" cy="900000"/>
          </a:xfrm>
          <a:prstGeom prst="rect">
            <a:avLst/>
          </a:prstGeom>
        </p:spPr>
      </p:pic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85395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6" y="2559571"/>
            <a:ext cx="2644069" cy="900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56184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7" y="2559571"/>
            <a:ext cx="2644067" cy="900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223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99457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67" y="2559571"/>
            <a:ext cx="2644067" cy="900000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10211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483" y="1251807"/>
            <a:ext cx="264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04282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483" y="1251807"/>
            <a:ext cx="2640000" cy="731871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68400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001" y="1035062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99267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001" y="1035062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43473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2614201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5664" y="6317296"/>
            <a:ext cx="1625227" cy="450551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08690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5664" y="6317296"/>
            <a:ext cx="1625227" cy="450551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11885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3545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478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95511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9897287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41735553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7092819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6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596800" y="6318000"/>
            <a:ext cx="1627200" cy="4500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7146413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/>
        </p:nvCxnSpPr>
        <p:spPr bwMode="gray">
          <a:xfrm>
            <a:off x="720000" y="972102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720000" y="1242000"/>
            <a:ext cx="1075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7366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1149451" y="6192682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53594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2192816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20000" y="1291282"/>
            <a:ext cx="5376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882"/>
            <a:ext cx="4992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115853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502619" y="4347852"/>
            <a:ext cx="216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20050561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6499201" y="1306264"/>
            <a:ext cx="4973433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783553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0" name="Connecteur droit 19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20000" y="1242000"/>
            <a:ext cx="5472000" cy="4860000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312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05085" y="1757064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17312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205085" y="3410400"/>
            <a:ext cx="216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6499200" y="1306264"/>
            <a:ext cx="49728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3447290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48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088698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872776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170676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77507" y="1242000"/>
            <a:ext cx="504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7" name="Connecteur droit 16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80000" y="1242000"/>
            <a:ext cx="4992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115853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02619" y="4463150"/>
            <a:ext cx="216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 dirty="0"/>
              <a:t>00%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3843414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20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672000" y="2420888"/>
            <a:ext cx="48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 dirty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0000" y="1242000"/>
            <a:ext cx="547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00" y="1242000"/>
            <a:ext cx="4992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55973" y="6058800"/>
            <a:ext cx="2688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43448335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4" y="5803168"/>
            <a:ext cx="1726977" cy="5328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116" y="5920765"/>
            <a:ext cx="2259555" cy="626400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42216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4" y="5803168"/>
            <a:ext cx="1726977" cy="5328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116" y="5920765"/>
            <a:ext cx="2259555" cy="62640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8429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3" y="5803168"/>
            <a:ext cx="1726976" cy="5328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129" y="5803168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78876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20000" y="2960948"/>
            <a:ext cx="456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prenom.nom@erametgroup.com</a:t>
            </a:r>
          </a:p>
          <a:p>
            <a:pPr lvl="3"/>
            <a:r>
              <a:rPr lang="fr-FR" dirty="0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720000" y="2125940"/>
            <a:ext cx="456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contact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68963" y="5803168"/>
            <a:ext cx="1726976" cy="5328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129" y="5803168"/>
            <a:ext cx="2125548" cy="881770"/>
          </a:xfrm>
          <a:prstGeom prst="rect">
            <a:avLst/>
          </a:prstGeom>
        </p:spPr>
      </p:pic>
      <p:grpSp>
        <p:nvGrpSpPr>
          <p:cNvPr id="57" name="Groupe 56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8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6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9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3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6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7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8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2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5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8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0899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00" y="2958685"/>
            <a:ext cx="2640000" cy="731869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897968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50" y="5547712"/>
            <a:ext cx="2567129" cy="79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00" y="2958685"/>
            <a:ext cx="2640000" cy="731869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589744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581" y="2293640"/>
            <a:ext cx="2736839" cy="113536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95757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0949" y="5547712"/>
            <a:ext cx="2567128" cy="792000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581" y="2293640"/>
            <a:ext cx="2736839" cy="1135360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57160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  <a:prstGeom prst="rect">
            <a:avLst/>
          </a:prstGeo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476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71603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80" y="5543811"/>
            <a:ext cx="2567123" cy="792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1187335"/>
            <a:ext cx="2644067" cy="90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343" y="2106944"/>
            <a:ext cx="2640000" cy="731871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810169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2543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28000" y="5544000"/>
            <a:ext cx="2567128" cy="792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424" y="980729"/>
            <a:ext cx="2644067" cy="899999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683" y="1958275"/>
            <a:ext cx="2125548" cy="881770"/>
          </a:xfrm>
          <a:prstGeom prst="rect">
            <a:avLst/>
          </a:prstGeom>
        </p:spPr>
      </p:pic>
      <p:grpSp>
        <p:nvGrpSpPr>
          <p:cNvPr id="58" name="Groupe 57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9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60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71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3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7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8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9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3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7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8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32642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8000" y="126013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/>
        </p:nvCxnSpPr>
        <p:spPr bwMode="gray">
          <a:xfrm>
            <a:off x="720000" y="972000"/>
            <a:ext cx="5376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8355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48000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8355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48000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8355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48000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8355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248000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8355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48000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08963" y="167563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768608" y="167563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108963" y="2425088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68608" y="2425088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08963" y="3174546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768608" y="3174546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08963" y="3924003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768608" y="3924003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08963" y="4673460"/>
            <a:ext cx="635043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68608" y="4673460"/>
            <a:ext cx="48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 dirty="0"/>
              <a:t>Titre</a:t>
            </a:r>
          </a:p>
          <a:p>
            <a:pPr lvl="1"/>
            <a:r>
              <a:rPr lang="fr-FR" noProof="0" dirty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768608" y="5445225"/>
            <a:ext cx="48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6581978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37934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70" y="6201308"/>
            <a:ext cx="1342647" cy="43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623" y="6239979"/>
            <a:ext cx="1103997" cy="375784"/>
          </a:xfrm>
          <a:prstGeom prst="rect">
            <a:avLst/>
          </a:prstGeom>
        </p:spPr>
      </p:pic>
      <p:grpSp>
        <p:nvGrpSpPr>
          <p:cNvPr id="55" name="Groupe 54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6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5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7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8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9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70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4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5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6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80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1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2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3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5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6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68585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2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5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8039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p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" y="0"/>
            <a:ext cx="4799997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rgbClr val="E7E2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013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12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20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1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22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23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24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25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26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50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40059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12192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6875696" y="184872"/>
            <a:ext cx="4977053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OO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720000" y="2631601"/>
            <a:ext cx="696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20000" y="6202800"/>
            <a:ext cx="1344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4178" y="-10633"/>
            <a:ext cx="4768851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822400" y="6238800"/>
            <a:ext cx="1104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/>
              <a:t>Sélectionner l’icône pour insérer une image, </a:t>
            </a:r>
            <a:br>
              <a:rPr lang="fr-FR" noProof="0" dirty="0"/>
            </a:br>
            <a:r>
              <a:rPr lang="fr-FR" noProof="0" dirty="0"/>
              <a:t>puis disposer l’image en arrière plan </a:t>
            </a:r>
            <a:br>
              <a:rPr lang="fr-FR" noProof="0" dirty="0"/>
            </a:br>
            <a:r>
              <a:rPr lang="fr-FR" noProof="0" dirty="0"/>
              <a:t>(Sélectionner l’image avec le bouton droit de la souris / </a:t>
            </a:r>
            <a:br>
              <a:rPr lang="fr-FR" noProof="0" dirty="0"/>
            </a:br>
            <a:r>
              <a:rPr lang="fr-FR" noProof="0" dirty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194002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ags" Target="../tags/tag6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vmlDrawing" Target="../drawings/vmlDrawing3.v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theme" Target="../theme/theme2.xml"/><Relationship Id="rId35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tags" Target="../tags/tag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image" Target="../media/image11.jpg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vmlDrawing" Target="../drawings/vmlDrawing4.v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theme" Target="../theme/theme3.xml"/><Relationship Id="rId35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oleObject" Target="../embeddings/oleObject5.bin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tags" Target="../tags/tag8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vmlDrawing" Target="../drawings/vmlDrawing5.v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theme" Target="../theme/theme4.xml"/><Relationship Id="rId35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8C96408-AA1F-4A71-B776-9DB8FF88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60550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35" imgW="344" imgH="344" progId="TCLayout.ActiveDocument.1">
                  <p:embed/>
                </p:oleObj>
              </mc:Choice>
              <mc:Fallback>
                <p:oleObj name="Diapositive think-cell" r:id="rId35" imgW="344" imgH="34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8C96408-AA1F-4A71-B776-9DB8FF88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347411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347411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53" name="Picture 140">
            <a:extLst>
              <a:ext uri="{FF2B5EF4-FFF2-40B4-BE49-F238E27FC236}">
                <a16:creationId xmlns:a16="http://schemas.microsoft.com/office/drawing/2014/main" id="{61D7638A-5653-41B7-AD32-384DA589B451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55383" y="6495075"/>
            <a:ext cx="681880" cy="28049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08" r:id="rId3"/>
    <p:sldLayoutId id="2147483852" r:id="rId4"/>
    <p:sldLayoutId id="2147483825" r:id="rId5"/>
    <p:sldLayoutId id="2147483840" r:id="rId6"/>
    <p:sldLayoutId id="2147483841" r:id="rId7"/>
    <p:sldLayoutId id="2147483839" r:id="rId8"/>
    <p:sldLayoutId id="2147483853" r:id="rId9"/>
    <p:sldLayoutId id="2147483849" r:id="rId10"/>
    <p:sldLayoutId id="2147483820" r:id="rId11"/>
    <p:sldLayoutId id="2147483850" r:id="rId12"/>
    <p:sldLayoutId id="2147483851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3" r:id="rId19"/>
    <p:sldLayoutId id="2147483842" r:id="rId20"/>
    <p:sldLayoutId id="2147483832" r:id="rId21"/>
    <p:sldLayoutId id="2147483843" r:id="rId22"/>
    <p:sldLayoutId id="2147483822" r:id="rId23"/>
    <p:sldLayoutId id="2147483821" r:id="rId24"/>
    <p:sldLayoutId id="2147483854" r:id="rId25"/>
    <p:sldLayoutId id="2147483846" r:id="rId26"/>
    <p:sldLayoutId id="2147483824" r:id="rId27"/>
    <p:sldLayoutId id="2147483823" r:id="rId28"/>
    <p:sldLayoutId id="2147483855" r:id="rId29"/>
    <p:sldLayoutId id="2147483949" r:id="rId30"/>
    <p:sldLayoutId id="2147483950" r:id="rId3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8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6BFA135A-9966-4F2A-92AF-9F8F667FDB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885707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33" imgW="344" imgH="344" progId="TCLayout.ActiveDocument.1">
                  <p:embed/>
                </p:oleObj>
              </mc:Choice>
              <mc:Fallback>
                <p:oleObj name="Diapositive think-cell" r:id="rId33" imgW="344" imgH="344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6BFA135A-9966-4F2A-92AF-9F8F667FDB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grpSp>
        <p:nvGrpSpPr>
          <p:cNvPr id="53" name="Groupe 52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4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5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2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3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5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7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8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2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3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9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0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1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98" name="Picture 140">
            <a:extLst>
              <a:ext uri="{FF2B5EF4-FFF2-40B4-BE49-F238E27FC236}">
                <a16:creationId xmlns:a16="http://schemas.microsoft.com/office/drawing/2014/main" id="{F8D7C6C5-DAB5-4A3D-A939-183A709FA721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55383" y="6495075"/>
            <a:ext cx="681880" cy="280495"/>
          </a:xfrm>
          <a:prstGeom prst="rect">
            <a:avLst/>
          </a:prstGeom>
        </p:spPr>
      </p:pic>
      <p:sp>
        <p:nvSpPr>
          <p:cNvPr id="99" name="Espace réservé du pied de page 4">
            <a:extLst>
              <a:ext uri="{FF2B5EF4-FFF2-40B4-BE49-F238E27FC236}">
                <a16:creationId xmlns:a16="http://schemas.microsoft.com/office/drawing/2014/main" id="{851EAC84-394F-4225-9173-4CC68E7DFB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49451" y="6347411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00" name="Espace réservé du numéro de diapositive 5">
            <a:extLst>
              <a:ext uri="{FF2B5EF4-FFF2-40B4-BE49-F238E27FC236}">
                <a16:creationId xmlns:a16="http://schemas.microsoft.com/office/drawing/2014/main" id="{3E69FC1C-1654-435F-969A-639AE88745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347411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005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  <p:sldLayoutId id="2147483880" r:id="rId23"/>
    <p:sldLayoutId id="2147483881" r:id="rId24"/>
    <p:sldLayoutId id="2147483882" r:id="rId25"/>
    <p:sldLayoutId id="2147483883" r:id="rId26"/>
    <p:sldLayoutId id="2147483884" r:id="rId27"/>
    <p:sldLayoutId id="2147483885" r:id="rId28"/>
    <p:sldLayoutId id="2147483886" r:id="rId2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6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F6D765A3-AC8B-4DB5-A9F1-B6BDBCEA75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24239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33" imgW="344" imgH="344" progId="TCLayout.ActiveDocument.1">
                  <p:embed/>
                </p:oleObj>
              </mc:Choice>
              <mc:Fallback>
                <p:oleObj name="Diapositive think-cell" r:id="rId33" imgW="344" imgH="34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F6D765A3-AC8B-4DB5-A9F1-B6BDBCEA7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192682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192682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69" y="6201308"/>
            <a:ext cx="1342648" cy="432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7512" y="6286578"/>
            <a:ext cx="1206033" cy="500314"/>
          </a:xfrm>
          <a:prstGeom prst="rect">
            <a:avLst/>
          </a:prstGeom>
        </p:spPr>
      </p:pic>
      <p:grpSp>
        <p:nvGrpSpPr>
          <p:cNvPr id="54" name="Groupe 53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5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6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3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5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7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8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9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3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9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80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2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4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183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7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9F9404E-96A7-41EB-B5EE-8090723F88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738845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33" imgW="344" imgH="344" progId="TCLayout.ActiveDocument.1">
                  <p:embed/>
                </p:oleObj>
              </mc:Choice>
              <mc:Fallback>
                <p:oleObj name="Diapositive think-cell" r:id="rId33" imgW="344" imgH="344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9F9404E-96A7-41EB-B5EE-8090723F8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1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Septembre 2020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192682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1" y="6192682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20469" y="6201308"/>
            <a:ext cx="1342648" cy="432000"/>
          </a:xfrm>
          <a:prstGeom prst="rect">
            <a:avLst/>
          </a:prstGeom>
        </p:spPr>
      </p:pic>
      <p:grpSp>
        <p:nvGrpSpPr>
          <p:cNvPr id="52" name="Groupe 51"/>
          <p:cNvGrpSpPr/>
          <p:nvPr/>
        </p:nvGrpSpPr>
        <p:grpSpPr>
          <a:xfrm>
            <a:off x="12484046" y="28361"/>
            <a:ext cx="5618997" cy="1943442"/>
            <a:chOff x="9363034" y="28361"/>
            <a:chExt cx="4214248" cy="1943442"/>
          </a:xfrm>
        </p:grpSpPr>
        <p:sp>
          <p:nvSpPr>
            <p:cNvPr id="53" name="Rectangle 2"/>
            <p:cNvSpPr txBox="1">
              <a:spLocks noChangeArrowheads="1"/>
            </p:cNvSpPr>
            <p:nvPr/>
          </p:nvSpPr>
          <p:spPr>
            <a:xfrm>
              <a:off x="9363034" y="28361"/>
              <a:ext cx="2532791" cy="238221"/>
            </a:xfrm>
            <a:prstGeom prst="rect">
              <a:avLst/>
            </a:prstGeom>
          </p:spPr>
          <p:txBody>
            <a:bodyPr/>
            <a:lstStyle>
              <a:lvl1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2pPr>
              <a:lvl3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4pPr>
              <a:lvl5pPr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5pPr>
              <a:lvl6pPr marL="4572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6pPr>
              <a:lvl7pPr marL="9144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7pPr>
              <a:lvl8pPr marL="13716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8pPr>
              <a:lvl9pPr marL="1828800" algn="l" defTabSz="762000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lour Palette</a:t>
              </a:r>
            </a:p>
          </p:txBody>
        </p:sp>
        <p:sp>
          <p:nvSpPr>
            <p:cNvPr id="54" name="Rectangle 4"/>
            <p:cNvSpPr>
              <a:spLocks noChangeArrowheads="1"/>
            </p:cNvSpPr>
            <p:nvPr/>
          </p:nvSpPr>
          <p:spPr bwMode="auto">
            <a:xfrm>
              <a:off x="12003129" y="365618"/>
              <a:ext cx="351576" cy="351576"/>
            </a:xfrm>
            <a:prstGeom prst="rect">
              <a:avLst/>
            </a:prstGeom>
            <a:solidFill>
              <a:srgbClr val="0067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tangle 5"/>
            <p:cNvSpPr>
              <a:spLocks noChangeArrowheads="1"/>
            </p:cNvSpPr>
            <p:nvPr/>
          </p:nvSpPr>
          <p:spPr bwMode="auto">
            <a:xfrm>
              <a:off x="10618024" y="365618"/>
              <a:ext cx="351576" cy="351576"/>
            </a:xfrm>
            <a:prstGeom prst="rect">
              <a:avLst/>
            </a:prstGeom>
            <a:solidFill>
              <a:srgbClr val="1A00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9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0220066" y="365618"/>
              <a:ext cx="351576" cy="351576"/>
            </a:xfrm>
            <a:prstGeom prst="rect">
              <a:avLst/>
            </a:prstGeom>
            <a:solidFill>
              <a:srgbClr val="5157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7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7"/>
            <p:cNvSpPr>
              <a:spLocks noChangeArrowheads="1"/>
            </p:cNvSpPr>
            <p:nvPr/>
          </p:nvSpPr>
          <p:spPr bwMode="auto">
            <a:xfrm>
              <a:off x="11016111" y="365618"/>
              <a:ext cx="351576" cy="351576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Line 11"/>
            <p:cNvSpPr>
              <a:spLocks noChangeShapeType="1"/>
            </p:cNvSpPr>
            <p:nvPr/>
          </p:nvSpPr>
          <p:spPr bwMode="auto">
            <a:xfrm>
              <a:off x="11477651" y="302205"/>
              <a:ext cx="0" cy="1669598"/>
            </a:xfrm>
            <a:prstGeom prst="line">
              <a:avLst/>
            </a:prstGeom>
            <a:noFill/>
            <a:ln w="9525">
              <a:solidFill>
                <a:srgbClr val="0516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Rectangle 28"/>
            <p:cNvSpPr>
              <a:spLocks noChangeArrowheads="1"/>
            </p:cNvSpPr>
            <p:nvPr/>
          </p:nvSpPr>
          <p:spPr bwMode="auto">
            <a:xfrm>
              <a:off x="12003388" y="1576258"/>
              <a:ext cx="351059" cy="351060"/>
            </a:xfrm>
            <a:prstGeom prst="rect">
              <a:avLst/>
            </a:prstGeom>
            <a:solidFill>
              <a:srgbClr val="CCE1E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2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0</a:t>
              </a:r>
            </a:p>
          </p:txBody>
        </p:sp>
        <p:sp>
          <p:nvSpPr>
            <p:cNvPr id="60" name="Rectangle 31"/>
            <p:cNvSpPr>
              <a:spLocks noChangeArrowheads="1"/>
            </p:cNvSpPr>
            <p:nvPr/>
          </p:nvSpPr>
          <p:spPr bwMode="auto">
            <a:xfrm>
              <a:off x="12003388" y="1172841"/>
              <a:ext cx="351059" cy="351060"/>
            </a:xfrm>
            <a:prstGeom prst="rect">
              <a:avLst/>
            </a:prstGeom>
            <a:solidFill>
              <a:srgbClr val="7CB5C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4</a:t>
              </a:r>
            </a:p>
          </p:txBody>
        </p:sp>
        <p:sp>
          <p:nvSpPr>
            <p:cNvPr id="61" name="Rectangle 34"/>
            <p:cNvSpPr>
              <a:spLocks noChangeArrowheads="1"/>
            </p:cNvSpPr>
            <p:nvPr/>
          </p:nvSpPr>
          <p:spPr bwMode="auto">
            <a:xfrm>
              <a:off x="12003388" y="769509"/>
              <a:ext cx="351059" cy="351060"/>
            </a:xfrm>
            <a:prstGeom prst="rect">
              <a:avLst/>
            </a:prstGeom>
            <a:solidFill>
              <a:srgbClr val="4D97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2" name="Rectangle 30"/>
            <p:cNvSpPr>
              <a:spLocks noChangeArrowheads="1"/>
            </p:cNvSpPr>
            <p:nvPr/>
          </p:nvSpPr>
          <p:spPr bwMode="auto">
            <a:xfrm>
              <a:off x="10220325" y="1576258"/>
              <a:ext cx="351059" cy="351060"/>
            </a:xfrm>
            <a:prstGeom prst="rect">
              <a:avLst/>
            </a:prstGeom>
            <a:solidFill>
              <a:srgbClr val="182C5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2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63" name="Rectangle 33"/>
            <p:cNvSpPr>
              <a:spLocks noChangeArrowheads="1"/>
            </p:cNvSpPr>
            <p:nvPr/>
          </p:nvSpPr>
          <p:spPr bwMode="auto">
            <a:xfrm>
              <a:off x="10618283" y="1172841"/>
              <a:ext cx="351059" cy="351060"/>
            </a:xfrm>
            <a:prstGeom prst="rect">
              <a:avLst/>
            </a:prstGeom>
            <a:solidFill>
              <a:srgbClr val="41326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04</a:t>
              </a:r>
            </a:p>
          </p:txBody>
        </p:sp>
        <p:sp>
          <p:nvSpPr>
            <p:cNvPr id="64" name="Rectangle 36"/>
            <p:cNvSpPr>
              <a:spLocks noChangeArrowheads="1"/>
            </p:cNvSpPr>
            <p:nvPr/>
          </p:nvSpPr>
          <p:spPr bwMode="auto">
            <a:xfrm>
              <a:off x="10618283" y="769509"/>
              <a:ext cx="351059" cy="351060"/>
            </a:xfrm>
            <a:prstGeom prst="rect">
              <a:avLst/>
            </a:prstGeom>
            <a:solidFill>
              <a:srgbClr val="D8D2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7</a:t>
              </a:r>
            </a:p>
          </p:txBody>
        </p:sp>
        <p:sp>
          <p:nvSpPr>
            <p:cNvPr id="65" name="Rectangle 39"/>
            <p:cNvSpPr>
              <a:spLocks noChangeArrowheads="1"/>
            </p:cNvSpPr>
            <p:nvPr/>
          </p:nvSpPr>
          <p:spPr bwMode="auto">
            <a:xfrm>
              <a:off x="11016370" y="1576258"/>
              <a:ext cx="351059" cy="35106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4</a:t>
              </a:r>
            </a:p>
          </p:txBody>
        </p:sp>
        <p:sp>
          <p:nvSpPr>
            <p:cNvPr id="66" name="Rectangle 41"/>
            <p:cNvSpPr>
              <a:spLocks noChangeArrowheads="1"/>
            </p:cNvSpPr>
            <p:nvPr/>
          </p:nvSpPr>
          <p:spPr bwMode="auto">
            <a:xfrm>
              <a:off x="11016370" y="1172841"/>
              <a:ext cx="351059" cy="35106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2</a:t>
              </a:r>
            </a:p>
          </p:txBody>
        </p:sp>
        <p:sp>
          <p:nvSpPr>
            <p:cNvPr id="67" name="Rectangle 42"/>
            <p:cNvSpPr>
              <a:spLocks noChangeArrowheads="1"/>
            </p:cNvSpPr>
            <p:nvPr/>
          </p:nvSpPr>
          <p:spPr bwMode="auto">
            <a:xfrm>
              <a:off x="11016370" y="769509"/>
              <a:ext cx="351059" cy="351060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9</a:t>
              </a:r>
            </a:p>
          </p:txBody>
        </p:sp>
        <p:sp>
          <p:nvSpPr>
            <p:cNvPr id="68" name="Rectangle 9"/>
            <p:cNvSpPr>
              <a:spLocks noChangeArrowheads="1"/>
            </p:cNvSpPr>
            <p:nvPr/>
          </p:nvSpPr>
          <p:spPr bwMode="auto">
            <a:xfrm>
              <a:off x="9423763" y="365618"/>
              <a:ext cx="351576" cy="347855"/>
            </a:xfrm>
            <a:prstGeom prst="rect">
              <a:avLst/>
            </a:prstGeom>
            <a:solidFill>
              <a:srgbClr val="FBF31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Rectangle 61"/>
            <p:cNvSpPr>
              <a:spLocks noChangeArrowheads="1"/>
            </p:cNvSpPr>
            <p:nvPr/>
          </p:nvSpPr>
          <p:spPr bwMode="auto">
            <a:xfrm>
              <a:off x="9821979" y="365618"/>
              <a:ext cx="351576" cy="351576"/>
            </a:xfrm>
            <a:prstGeom prst="rect">
              <a:avLst/>
            </a:prstGeom>
            <a:solidFill>
              <a:srgbClr val="FA6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Rectangle 3"/>
            <p:cNvSpPr>
              <a:spLocks noChangeArrowheads="1"/>
            </p:cNvSpPr>
            <p:nvPr/>
          </p:nvSpPr>
          <p:spPr bwMode="auto">
            <a:xfrm>
              <a:off x="11594309" y="365618"/>
              <a:ext cx="351576" cy="351576"/>
            </a:xfrm>
            <a:prstGeom prst="rect">
              <a:avLst/>
            </a:prstGeom>
            <a:solidFill>
              <a:srgbClr val="05164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2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</p:txBody>
        </p:sp>
        <p:sp>
          <p:nvSpPr>
            <p:cNvPr id="71" name="Rectangle 24"/>
            <p:cNvSpPr>
              <a:spLocks noChangeArrowheads="1"/>
            </p:cNvSpPr>
            <p:nvPr/>
          </p:nvSpPr>
          <p:spPr bwMode="auto">
            <a:xfrm>
              <a:off x="11594568" y="1576258"/>
              <a:ext cx="351059" cy="351060"/>
            </a:xfrm>
            <a:prstGeom prst="rect">
              <a:avLst/>
            </a:prstGeom>
            <a:solidFill>
              <a:srgbClr val="C9CCD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1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3</a:t>
              </a:r>
            </a:p>
          </p:txBody>
        </p:sp>
        <p:sp>
          <p:nvSpPr>
            <p:cNvPr id="72" name="Rectangle 25"/>
            <p:cNvSpPr>
              <a:spLocks noChangeArrowheads="1"/>
            </p:cNvSpPr>
            <p:nvPr/>
          </p:nvSpPr>
          <p:spPr bwMode="auto">
            <a:xfrm>
              <a:off x="11594568" y="1172841"/>
              <a:ext cx="351059" cy="351060"/>
            </a:xfrm>
            <a:prstGeom prst="rect">
              <a:avLst/>
            </a:prstGeom>
            <a:solidFill>
              <a:srgbClr val="878F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63</a:t>
              </a:r>
            </a:p>
          </p:txBody>
        </p:sp>
        <p:sp>
          <p:nvSpPr>
            <p:cNvPr id="73" name="Rectangle 27"/>
            <p:cNvSpPr>
              <a:spLocks noChangeArrowheads="1"/>
            </p:cNvSpPr>
            <p:nvPr/>
          </p:nvSpPr>
          <p:spPr bwMode="auto">
            <a:xfrm>
              <a:off x="11594568" y="769509"/>
              <a:ext cx="351059" cy="351060"/>
            </a:xfrm>
            <a:prstGeom prst="rect">
              <a:avLst/>
            </a:prstGeom>
            <a:solidFill>
              <a:srgbClr val="45587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7</a:t>
              </a: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13225706" y="766756"/>
              <a:ext cx="351576" cy="351576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tangle 61"/>
            <p:cNvSpPr>
              <a:spLocks noChangeArrowheads="1"/>
            </p:cNvSpPr>
            <p:nvPr/>
          </p:nvSpPr>
          <p:spPr bwMode="auto">
            <a:xfrm>
              <a:off x="13225706" y="365618"/>
              <a:ext cx="351576" cy="351576"/>
            </a:xfrm>
            <a:prstGeom prst="rect">
              <a:avLst/>
            </a:prstGeom>
            <a:solidFill>
              <a:srgbClr val="2461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29"/>
            <p:cNvSpPr>
              <a:spLocks noChangeArrowheads="1"/>
            </p:cNvSpPr>
            <p:nvPr/>
          </p:nvSpPr>
          <p:spPr bwMode="auto">
            <a:xfrm>
              <a:off x="12412208" y="1576258"/>
              <a:ext cx="351059" cy="351060"/>
            </a:xfrm>
            <a:prstGeom prst="rect">
              <a:avLst/>
            </a:prstGeom>
            <a:solidFill>
              <a:srgbClr val="DAC3D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8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9</a:t>
              </a:r>
            </a:p>
          </p:txBody>
        </p:sp>
        <p:sp>
          <p:nvSpPr>
            <p:cNvPr id="77" name="Rectangle 32"/>
            <p:cNvSpPr>
              <a:spLocks noChangeArrowheads="1"/>
            </p:cNvSpPr>
            <p:nvPr/>
          </p:nvSpPr>
          <p:spPr bwMode="auto">
            <a:xfrm>
              <a:off x="12412208" y="1172841"/>
              <a:ext cx="351059" cy="351060"/>
            </a:xfrm>
            <a:prstGeom prst="rect">
              <a:avLst/>
            </a:prstGeom>
            <a:solidFill>
              <a:srgbClr val="BD93B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8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7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91</a:t>
              </a:r>
            </a:p>
          </p:txBody>
        </p:sp>
        <p:sp>
          <p:nvSpPr>
            <p:cNvPr id="78" name="Rectangle 35"/>
            <p:cNvSpPr>
              <a:spLocks noChangeArrowheads="1"/>
            </p:cNvSpPr>
            <p:nvPr/>
          </p:nvSpPr>
          <p:spPr bwMode="auto">
            <a:xfrm>
              <a:off x="12412208" y="769337"/>
              <a:ext cx="351059" cy="351060"/>
            </a:xfrm>
            <a:prstGeom prst="rect">
              <a:avLst/>
            </a:prstGeom>
            <a:solidFill>
              <a:srgbClr val="92559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5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9</a:t>
              </a:r>
            </a:p>
          </p:txBody>
        </p:sp>
        <p:sp>
          <p:nvSpPr>
            <p:cNvPr id="79" name="Rectangle 9"/>
            <p:cNvSpPr>
              <a:spLocks noChangeArrowheads="1"/>
            </p:cNvSpPr>
            <p:nvPr/>
          </p:nvSpPr>
          <p:spPr bwMode="auto">
            <a:xfrm>
              <a:off x="9423763" y="770233"/>
              <a:ext cx="351576" cy="347855"/>
            </a:xfrm>
            <a:prstGeom prst="rect">
              <a:avLst/>
            </a:prstGeom>
            <a:solidFill>
              <a:srgbClr val="FFF1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9423763" y="1174444"/>
              <a:ext cx="351576" cy="347855"/>
            </a:xfrm>
            <a:prstGeom prst="rect">
              <a:avLst/>
            </a:prstGeom>
            <a:solidFill>
              <a:srgbClr val="FFF02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9"/>
            <p:cNvSpPr>
              <a:spLocks noChangeArrowheads="1"/>
            </p:cNvSpPr>
            <p:nvPr/>
          </p:nvSpPr>
          <p:spPr bwMode="auto">
            <a:xfrm>
              <a:off x="9423763" y="1579463"/>
              <a:ext cx="351576" cy="347855"/>
            </a:xfrm>
            <a:prstGeom prst="rect">
              <a:avLst/>
            </a:prstGeom>
            <a:solidFill>
              <a:srgbClr val="EEA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3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0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9"/>
            <p:cNvSpPr>
              <a:spLocks noChangeArrowheads="1"/>
            </p:cNvSpPr>
            <p:nvPr/>
          </p:nvSpPr>
          <p:spPr bwMode="auto">
            <a:xfrm>
              <a:off x="9821979" y="772714"/>
              <a:ext cx="351576" cy="347855"/>
            </a:xfrm>
            <a:prstGeom prst="rect">
              <a:avLst/>
            </a:prstGeom>
            <a:solidFill>
              <a:srgbClr val="F6965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3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9"/>
            <p:cNvSpPr>
              <a:spLocks noChangeArrowheads="1"/>
            </p:cNvSpPr>
            <p:nvPr/>
          </p:nvSpPr>
          <p:spPr bwMode="auto">
            <a:xfrm>
              <a:off x="9821979" y="1174444"/>
              <a:ext cx="351576" cy="347855"/>
            </a:xfrm>
            <a:prstGeom prst="rect">
              <a:avLst/>
            </a:prstGeom>
            <a:solidFill>
              <a:srgbClr val="F27B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5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1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9821979" y="1579463"/>
              <a:ext cx="351576" cy="347855"/>
            </a:xfrm>
            <a:prstGeom prst="rect">
              <a:avLst/>
            </a:prstGeom>
            <a:solidFill>
              <a:srgbClr val="C840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10220066" y="771645"/>
              <a:ext cx="351576" cy="347855"/>
            </a:xfrm>
            <a:prstGeom prst="rect">
              <a:avLst/>
            </a:prstGeom>
            <a:solidFill>
              <a:srgbClr val="717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13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2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68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9"/>
            <p:cNvSpPr>
              <a:spLocks noChangeArrowheads="1"/>
            </p:cNvSpPr>
            <p:nvPr/>
          </p:nvSpPr>
          <p:spPr bwMode="auto">
            <a:xfrm>
              <a:off x="10220066" y="1174444"/>
              <a:ext cx="351576" cy="347855"/>
            </a:xfrm>
            <a:prstGeom prst="rect">
              <a:avLst/>
            </a:prstGeom>
            <a:solidFill>
              <a:srgbClr val="506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1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2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33"/>
            <p:cNvSpPr>
              <a:spLocks noChangeArrowheads="1"/>
            </p:cNvSpPr>
            <p:nvPr/>
          </p:nvSpPr>
          <p:spPr bwMode="auto">
            <a:xfrm>
              <a:off x="10618283" y="1576258"/>
              <a:ext cx="351059" cy="351060"/>
            </a:xfrm>
            <a:prstGeom prst="rect">
              <a:avLst/>
            </a:prstGeom>
            <a:solidFill>
              <a:srgbClr val="210D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3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74</a:t>
              </a:r>
            </a:p>
          </p:txBody>
        </p:sp>
        <p:sp>
          <p:nvSpPr>
            <p:cNvPr id="88" name="Rectangle 35"/>
            <p:cNvSpPr>
              <a:spLocks noChangeArrowheads="1"/>
            </p:cNvSpPr>
            <p:nvPr/>
          </p:nvSpPr>
          <p:spPr bwMode="auto">
            <a:xfrm>
              <a:off x="12412208" y="365618"/>
              <a:ext cx="351059" cy="351060"/>
            </a:xfrm>
            <a:prstGeom prst="rect">
              <a:avLst/>
            </a:prstGeom>
            <a:solidFill>
              <a:srgbClr val="6714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3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98</a:t>
              </a:r>
            </a:p>
          </p:txBody>
        </p:sp>
        <p:sp>
          <p:nvSpPr>
            <p:cNvPr id="89" name="Rectangle 29"/>
            <p:cNvSpPr>
              <a:spLocks noChangeArrowheads="1"/>
            </p:cNvSpPr>
            <p:nvPr/>
          </p:nvSpPr>
          <p:spPr bwMode="auto">
            <a:xfrm>
              <a:off x="12821028" y="1576258"/>
              <a:ext cx="351059" cy="351060"/>
            </a:xfrm>
            <a:prstGeom prst="rect">
              <a:avLst/>
            </a:prstGeom>
            <a:solidFill>
              <a:srgbClr val="CCD4E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1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36</a:t>
              </a:r>
            </a:p>
          </p:txBody>
        </p:sp>
        <p:sp>
          <p:nvSpPr>
            <p:cNvPr id="90" name="Rectangle 32"/>
            <p:cNvSpPr>
              <a:spLocks noChangeArrowheads="1"/>
            </p:cNvSpPr>
            <p:nvPr/>
          </p:nvSpPr>
          <p:spPr bwMode="auto">
            <a:xfrm>
              <a:off x="12821028" y="1172841"/>
              <a:ext cx="351059" cy="351060"/>
            </a:xfrm>
            <a:prstGeom prst="rect">
              <a:avLst/>
            </a:prstGeom>
            <a:solidFill>
              <a:srgbClr val="8295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3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149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51640"/>
                  </a:solidFill>
                  <a:effectLst/>
                  <a:uLnTx/>
                  <a:uFillTx/>
                </a:rPr>
                <a:t>208</a:t>
              </a:r>
            </a:p>
          </p:txBody>
        </p:sp>
        <p:sp>
          <p:nvSpPr>
            <p:cNvPr id="91" name="Rectangle 35"/>
            <p:cNvSpPr>
              <a:spLocks noChangeArrowheads="1"/>
            </p:cNvSpPr>
            <p:nvPr/>
          </p:nvSpPr>
          <p:spPr bwMode="auto">
            <a:xfrm>
              <a:off x="12821028" y="769337"/>
              <a:ext cx="351059" cy="351060"/>
            </a:xfrm>
            <a:prstGeom prst="rect">
              <a:avLst/>
            </a:prstGeom>
            <a:solidFill>
              <a:srgbClr val="4C66B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6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2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88</a:t>
              </a:r>
            </a:p>
          </p:txBody>
        </p:sp>
        <p:sp>
          <p:nvSpPr>
            <p:cNvPr id="92" name="Rectangle 35"/>
            <p:cNvSpPr>
              <a:spLocks noChangeArrowheads="1"/>
            </p:cNvSpPr>
            <p:nvPr/>
          </p:nvSpPr>
          <p:spPr bwMode="auto">
            <a:xfrm>
              <a:off x="12821028" y="365618"/>
              <a:ext cx="351059" cy="351060"/>
            </a:xfrm>
            <a:prstGeom prst="rect">
              <a:avLst/>
            </a:prstGeom>
            <a:solidFill>
              <a:srgbClr val="0E329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0000" rIns="0" anchor="ctr" anchorCtr="1"/>
            <a:lstStyle/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4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0</a:t>
              </a:r>
            </a:p>
            <a:p>
              <a:pPr marL="0" marR="0" lvl="0" indent="0" algn="ctr" defTabSz="7620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 typeface="Wingdings" pitchFamily="2" charset="2"/>
                <a:buNone/>
                <a:tabLst>
                  <a:tab pos="539750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56</a:t>
              </a:r>
            </a:p>
          </p:txBody>
        </p:sp>
        <p:sp>
          <p:nvSpPr>
            <p:cNvPr id="93" name="Rectangle 9"/>
            <p:cNvSpPr>
              <a:spLocks noChangeArrowheads="1"/>
            </p:cNvSpPr>
            <p:nvPr/>
          </p:nvSpPr>
          <p:spPr bwMode="auto">
            <a:xfrm>
              <a:off x="13225706" y="1576258"/>
              <a:ext cx="351576" cy="351576"/>
            </a:xfrm>
            <a:prstGeom prst="rect">
              <a:avLst/>
            </a:prstGeom>
            <a:solidFill>
              <a:srgbClr val="37424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5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6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74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Rectangle 61"/>
            <p:cNvSpPr>
              <a:spLocks noChangeArrowheads="1"/>
            </p:cNvSpPr>
            <p:nvPr/>
          </p:nvSpPr>
          <p:spPr bwMode="auto">
            <a:xfrm>
              <a:off x="13225706" y="1159635"/>
              <a:ext cx="351576" cy="351576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68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4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>
                  <a:tab pos="627063" algn="l"/>
                </a:tabLst>
                <a:defRPr/>
              </a:pPr>
              <a:r>
                <a:rPr kumimoji="0" lang="en-A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6</a:t>
              </a:r>
              <a:endPara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4036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  <p:sldLayoutId id="2147483940" r:id="rId21"/>
    <p:sldLayoutId id="2147483941" r:id="rId22"/>
    <p:sldLayoutId id="2147483942" r:id="rId23"/>
    <p:sldLayoutId id="2147483943" r:id="rId24"/>
    <p:sldLayoutId id="2147483944" r:id="rId25"/>
    <p:sldLayoutId id="2147483945" r:id="rId26"/>
    <p:sldLayoutId id="2147483946" r:id="rId27"/>
    <p:sldLayoutId id="2147483947" r:id="rId28"/>
    <p:sldLayoutId id="2147483948" r:id="rId2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36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0.xlsx"/><Relationship Id="rId3" Type="http://schemas.openxmlformats.org/officeDocument/2006/relationships/tags" Target="../tags/tag138.xml"/><Relationship Id="rId7" Type="http://schemas.openxmlformats.org/officeDocument/2006/relationships/image" Target="../media/image14.png"/><Relationship Id="rId2" Type="http://schemas.openxmlformats.org/officeDocument/2006/relationships/tags" Target="../tags/tag13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2.xml"/><Relationship Id="rId7" Type="http://schemas.openxmlformats.org/officeDocument/2006/relationships/image" Target="../media/image1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20.png"/><Relationship Id="rId3" Type="http://schemas.openxmlformats.org/officeDocument/2006/relationships/tags" Target="../tags/tag14.xml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39.xml"/><Relationship Id="rId21" Type="http://schemas.openxmlformats.org/officeDocument/2006/relationships/tags" Target="../tags/tag34.xml"/><Relationship Id="rId34" Type="http://schemas.openxmlformats.org/officeDocument/2006/relationships/tags" Target="../tags/tag47.xml"/><Relationship Id="rId42" Type="http://schemas.openxmlformats.org/officeDocument/2006/relationships/tags" Target="../tags/tag55.xml"/><Relationship Id="rId47" Type="http://schemas.openxmlformats.org/officeDocument/2006/relationships/tags" Target="../tags/tag60.xml"/><Relationship Id="rId50" Type="http://schemas.openxmlformats.org/officeDocument/2006/relationships/tags" Target="../tags/tag63.xml"/><Relationship Id="rId55" Type="http://schemas.openxmlformats.org/officeDocument/2006/relationships/tags" Target="../tags/tag68.xml"/><Relationship Id="rId63" Type="http://schemas.openxmlformats.org/officeDocument/2006/relationships/tags" Target="../tags/tag76.xml"/><Relationship Id="rId68" Type="http://schemas.openxmlformats.org/officeDocument/2006/relationships/tags" Target="../tags/tag81.xml"/><Relationship Id="rId76" Type="http://schemas.openxmlformats.org/officeDocument/2006/relationships/tags" Target="../tags/tag89.xml"/><Relationship Id="rId84" Type="http://schemas.openxmlformats.org/officeDocument/2006/relationships/slideLayout" Target="../slideLayouts/slideLayout14.xml"/><Relationship Id="rId89" Type="http://schemas.openxmlformats.org/officeDocument/2006/relationships/image" Target="../media/image21.png"/><Relationship Id="rId97" Type="http://schemas.openxmlformats.org/officeDocument/2006/relationships/chart" Target="../charts/chart5.xml"/><Relationship Id="rId7" Type="http://schemas.openxmlformats.org/officeDocument/2006/relationships/tags" Target="../tags/tag20.xml"/><Relationship Id="rId71" Type="http://schemas.openxmlformats.org/officeDocument/2006/relationships/tags" Target="../tags/tag84.xml"/><Relationship Id="rId92" Type="http://schemas.openxmlformats.org/officeDocument/2006/relationships/chart" Target="../charts/chart1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9" Type="http://schemas.openxmlformats.org/officeDocument/2006/relationships/tags" Target="../tags/tag42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32" Type="http://schemas.openxmlformats.org/officeDocument/2006/relationships/tags" Target="../tags/tag45.xml"/><Relationship Id="rId37" Type="http://schemas.openxmlformats.org/officeDocument/2006/relationships/tags" Target="../tags/tag50.xml"/><Relationship Id="rId40" Type="http://schemas.openxmlformats.org/officeDocument/2006/relationships/tags" Target="../tags/tag53.xml"/><Relationship Id="rId45" Type="http://schemas.openxmlformats.org/officeDocument/2006/relationships/tags" Target="../tags/tag58.xml"/><Relationship Id="rId53" Type="http://schemas.openxmlformats.org/officeDocument/2006/relationships/tags" Target="../tags/tag66.xml"/><Relationship Id="rId58" Type="http://schemas.openxmlformats.org/officeDocument/2006/relationships/tags" Target="../tags/tag71.xml"/><Relationship Id="rId66" Type="http://schemas.openxmlformats.org/officeDocument/2006/relationships/tags" Target="../tags/tag79.xml"/><Relationship Id="rId74" Type="http://schemas.openxmlformats.org/officeDocument/2006/relationships/tags" Target="../tags/tag87.xml"/><Relationship Id="rId79" Type="http://schemas.openxmlformats.org/officeDocument/2006/relationships/tags" Target="../tags/tag92.xml"/><Relationship Id="rId87" Type="http://schemas.openxmlformats.org/officeDocument/2006/relationships/image" Target="../media/image1.emf"/><Relationship Id="rId5" Type="http://schemas.openxmlformats.org/officeDocument/2006/relationships/tags" Target="../tags/tag18.xml"/><Relationship Id="rId61" Type="http://schemas.openxmlformats.org/officeDocument/2006/relationships/tags" Target="../tags/tag74.xml"/><Relationship Id="rId82" Type="http://schemas.openxmlformats.org/officeDocument/2006/relationships/tags" Target="../tags/tag95.xml"/><Relationship Id="rId90" Type="http://schemas.openxmlformats.org/officeDocument/2006/relationships/image" Target="../media/image22.png"/><Relationship Id="rId95" Type="http://schemas.openxmlformats.org/officeDocument/2006/relationships/chart" Target="../charts/chart3.xml"/><Relationship Id="rId19" Type="http://schemas.openxmlformats.org/officeDocument/2006/relationships/tags" Target="../tags/tag3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tags" Target="../tags/tag40.xml"/><Relationship Id="rId30" Type="http://schemas.openxmlformats.org/officeDocument/2006/relationships/tags" Target="../tags/tag43.xml"/><Relationship Id="rId35" Type="http://schemas.openxmlformats.org/officeDocument/2006/relationships/tags" Target="../tags/tag48.xml"/><Relationship Id="rId43" Type="http://schemas.openxmlformats.org/officeDocument/2006/relationships/tags" Target="../tags/tag56.xml"/><Relationship Id="rId48" Type="http://schemas.openxmlformats.org/officeDocument/2006/relationships/tags" Target="../tags/tag61.xml"/><Relationship Id="rId56" Type="http://schemas.openxmlformats.org/officeDocument/2006/relationships/tags" Target="../tags/tag69.xml"/><Relationship Id="rId64" Type="http://schemas.openxmlformats.org/officeDocument/2006/relationships/tags" Target="../tags/tag77.xml"/><Relationship Id="rId69" Type="http://schemas.openxmlformats.org/officeDocument/2006/relationships/tags" Target="../tags/tag82.xml"/><Relationship Id="rId77" Type="http://schemas.openxmlformats.org/officeDocument/2006/relationships/tags" Target="../tags/tag90.xml"/><Relationship Id="rId8" Type="http://schemas.openxmlformats.org/officeDocument/2006/relationships/tags" Target="../tags/tag21.xml"/><Relationship Id="rId51" Type="http://schemas.openxmlformats.org/officeDocument/2006/relationships/tags" Target="../tags/tag64.xml"/><Relationship Id="rId72" Type="http://schemas.openxmlformats.org/officeDocument/2006/relationships/tags" Target="../tags/tag85.xml"/><Relationship Id="rId80" Type="http://schemas.openxmlformats.org/officeDocument/2006/relationships/tags" Target="../tags/tag93.xml"/><Relationship Id="rId85" Type="http://schemas.openxmlformats.org/officeDocument/2006/relationships/notesSlide" Target="../notesSlides/notesSlide1.xml"/><Relationship Id="rId93" Type="http://schemas.openxmlformats.org/officeDocument/2006/relationships/image" Target="../media/image3.png"/><Relationship Id="rId98" Type="http://schemas.openxmlformats.org/officeDocument/2006/relationships/chart" Target="../charts/chart6.xml"/><Relationship Id="rId3" Type="http://schemas.openxmlformats.org/officeDocument/2006/relationships/tags" Target="../tags/tag16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33" Type="http://schemas.openxmlformats.org/officeDocument/2006/relationships/tags" Target="../tags/tag46.xml"/><Relationship Id="rId38" Type="http://schemas.openxmlformats.org/officeDocument/2006/relationships/tags" Target="../tags/tag51.xml"/><Relationship Id="rId46" Type="http://schemas.openxmlformats.org/officeDocument/2006/relationships/tags" Target="../tags/tag59.xml"/><Relationship Id="rId59" Type="http://schemas.openxmlformats.org/officeDocument/2006/relationships/tags" Target="../tags/tag72.xml"/><Relationship Id="rId67" Type="http://schemas.openxmlformats.org/officeDocument/2006/relationships/tags" Target="../tags/tag80.xml"/><Relationship Id="rId20" Type="http://schemas.openxmlformats.org/officeDocument/2006/relationships/tags" Target="../tags/tag33.xml"/><Relationship Id="rId41" Type="http://schemas.openxmlformats.org/officeDocument/2006/relationships/tags" Target="../tags/tag54.xml"/><Relationship Id="rId54" Type="http://schemas.openxmlformats.org/officeDocument/2006/relationships/tags" Target="../tags/tag67.xml"/><Relationship Id="rId62" Type="http://schemas.openxmlformats.org/officeDocument/2006/relationships/tags" Target="../tags/tag75.xml"/><Relationship Id="rId70" Type="http://schemas.openxmlformats.org/officeDocument/2006/relationships/tags" Target="../tags/tag83.xml"/><Relationship Id="rId75" Type="http://schemas.openxmlformats.org/officeDocument/2006/relationships/tags" Target="../tags/tag88.xml"/><Relationship Id="rId83" Type="http://schemas.openxmlformats.org/officeDocument/2006/relationships/tags" Target="../tags/tag96.xml"/><Relationship Id="rId88" Type="http://schemas.openxmlformats.org/officeDocument/2006/relationships/image" Target="../media/image15.png"/><Relationship Id="rId91" Type="http://schemas.openxmlformats.org/officeDocument/2006/relationships/image" Target="../media/image14.png"/><Relationship Id="rId96" Type="http://schemas.openxmlformats.org/officeDocument/2006/relationships/chart" Target="../charts/chart4.xml"/><Relationship Id="rId1" Type="http://schemas.openxmlformats.org/officeDocument/2006/relationships/vmlDrawing" Target="../drawings/vmlDrawing9.vml"/><Relationship Id="rId6" Type="http://schemas.openxmlformats.org/officeDocument/2006/relationships/tags" Target="../tags/tag19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tags" Target="../tags/tag41.xml"/><Relationship Id="rId36" Type="http://schemas.openxmlformats.org/officeDocument/2006/relationships/tags" Target="../tags/tag49.xml"/><Relationship Id="rId49" Type="http://schemas.openxmlformats.org/officeDocument/2006/relationships/tags" Target="../tags/tag62.xml"/><Relationship Id="rId57" Type="http://schemas.openxmlformats.org/officeDocument/2006/relationships/tags" Target="../tags/tag70.xml"/><Relationship Id="rId10" Type="http://schemas.openxmlformats.org/officeDocument/2006/relationships/tags" Target="../tags/tag23.xml"/><Relationship Id="rId31" Type="http://schemas.openxmlformats.org/officeDocument/2006/relationships/tags" Target="../tags/tag44.xml"/><Relationship Id="rId44" Type="http://schemas.openxmlformats.org/officeDocument/2006/relationships/tags" Target="../tags/tag57.xml"/><Relationship Id="rId52" Type="http://schemas.openxmlformats.org/officeDocument/2006/relationships/tags" Target="../tags/tag65.xml"/><Relationship Id="rId60" Type="http://schemas.openxmlformats.org/officeDocument/2006/relationships/tags" Target="../tags/tag73.xml"/><Relationship Id="rId65" Type="http://schemas.openxmlformats.org/officeDocument/2006/relationships/tags" Target="../tags/tag78.xml"/><Relationship Id="rId73" Type="http://schemas.openxmlformats.org/officeDocument/2006/relationships/tags" Target="../tags/tag86.xml"/><Relationship Id="rId78" Type="http://schemas.openxmlformats.org/officeDocument/2006/relationships/tags" Target="../tags/tag91.xml"/><Relationship Id="rId81" Type="http://schemas.openxmlformats.org/officeDocument/2006/relationships/tags" Target="../tags/tag94.xml"/><Relationship Id="rId86" Type="http://schemas.openxmlformats.org/officeDocument/2006/relationships/oleObject" Target="../embeddings/oleObject9.bin"/><Relationship Id="rId94" Type="http://schemas.openxmlformats.org/officeDocument/2006/relationships/chart" Target="../charts/chart2.xml"/><Relationship Id="rId99" Type="http://schemas.openxmlformats.org/officeDocument/2006/relationships/comments" Target="../comments/comment1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9" Type="http://schemas.openxmlformats.org/officeDocument/2006/relationships/tags" Target="../tags/tag5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tags" Target="../tags/tag121.xml"/><Relationship Id="rId39" Type="http://schemas.openxmlformats.org/officeDocument/2006/relationships/chart" Target="../charts/chart7.xml"/><Relationship Id="rId3" Type="http://schemas.openxmlformats.org/officeDocument/2006/relationships/tags" Target="../tags/tag98.xml"/><Relationship Id="rId21" Type="http://schemas.openxmlformats.org/officeDocument/2006/relationships/tags" Target="../tags/tag116.xml"/><Relationship Id="rId34" Type="http://schemas.openxmlformats.org/officeDocument/2006/relationships/notesSlide" Target="../notesSlides/notesSlide2.xml"/><Relationship Id="rId42" Type="http://schemas.openxmlformats.org/officeDocument/2006/relationships/image" Target="../media/image21.png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slideLayout" Target="../slideLayouts/slideLayout14.xml"/><Relationship Id="rId38" Type="http://schemas.openxmlformats.org/officeDocument/2006/relationships/image" Target="../media/image14.png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0" Type="http://schemas.openxmlformats.org/officeDocument/2006/relationships/tags" Target="../tags/tag115.xml"/><Relationship Id="rId29" Type="http://schemas.openxmlformats.org/officeDocument/2006/relationships/tags" Target="../tags/tag124.xml"/><Relationship Id="rId41" Type="http://schemas.openxmlformats.org/officeDocument/2006/relationships/chart" Target="../charts/chart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image" Target="../media/image15.png"/><Relationship Id="rId40" Type="http://schemas.openxmlformats.org/officeDocument/2006/relationships/image" Target="../media/image3.png"/><Relationship Id="rId45" Type="http://schemas.openxmlformats.org/officeDocument/2006/relationships/image" Target="../media/image23.emf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image" Target="../media/image1.emf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31" Type="http://schemas.openxmlformats.org/officeDocument/2006/relationships/tags" Target="../tags/tag126.xml"/><Relationship Id="rId44" Type="http://schemas.openxmlformats.org/officeDocument/2006/relationships/package" Target="../embeddings/Microsoft_Excel_Worksheet.xlsx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oleObject" Target="../embeddings/oleObject10.bin"/><Relationship Id="rId43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29.xml"/><Relationship Id="rId7" Type="http://schemas.openxmlformats.org/officeDocument/2006/relationships/image" Target="../media/image1.emf"/><Relationship Id="rId2" Type="http://schemas.openxmlformats.org/officeDocument/2006/relationships/tags" Target="../tags/tag128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24.emf"/><Relationship Id="rId4" Type="http://schemas.openxmlformats.org/officeDocument/2006/relationships/tags" Target="../tags/tag130.xml"/><Relationship Id="rId9" Type="http://schemas.openxmlformats.org/officeDocument/2006/relationships/package" Target="../embeddings/Microsoft_Excel_Worksheet6.xlsx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7.xlsx"/><Relationship Id="rId3" Type="http://schemas.openxmlformats.org/officeDocument/2006/relationships/tags" Target="../tags/tag132.xml"/><Relationship Id="rId7" Type="http://schemas.openxmlformats.org/officeDocument/2006/relationships/image" Target="../media/image14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5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134.xml"/><Relationship Id="rId7" Type="http://schemas.openxmlformats.org/officeDocument/2006/relationships/package" Target="../embeddings/Microsoft_Excel_Worksheet8.xlsx"/><Relationship Id="rId2" Type="http://schemas.openxmlformats.org/officeDocument/2006/relationships/tags" Target="../tags/tag13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9.xlsx"/><Relationship Id="rId3" Type="http://schemas.openxmlformats.org/officeDocument/2006/relationships/tags" Target="../tags/tag136.xml"/><Relationship Id="rId7" Type="http://schemas.openxmlformats.org/officeDocument/2006/relationships/image" Target="../media/image14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D79D345A-F3AE-4DAD-A3B3-8A8997AFD0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0327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5" imgW="421" imgH="425" progId="TCLayout.ActiveDocument.1">
                  <p:embed/>
                </p:oleObj>
              </mc:Choice>
              <mc:Fallback>
                <p:oleObj name="Diapositive think-cell" r:id="rId5" imgW="421" imgH="425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D79D345A-F3AE-4DAD-A3B3-8A8997AFD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C45E36E-01C1-48AD-A35D-FC626F8109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3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ous-titre 1">
            <a:extLst>
              <a:ext uri="{FF2B5EF4-FFF2-40B4-BE49-F238E27FC236}">
                <a16:creationId xmlns:a16="http://schemas.microsoft.com/office/drawing/2014/main" id="{71155487-2948-4B79-B454-10A25402BA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fr-FR" sz="2000" dirty="0"/>
              <a:t>Mars 2021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112CBE1-AED7-4441-AC37-62CEB63C5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FCAC40A-5772-409F-94C4-B07936A52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2D32FCD6-F0A9-418A-8BE5-F7A667BDE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8" y="2657915"/>
            <a:ext cx="7625715" cy="1512168"/>
          </a:xfrm>
        </p:spPr>
        <p:txBody>
          <a:bodyPr anchor="ctr"/>
          <a:lstStyle/>
          <a:p>
            <a:r>
              <a:rPr lang="fr-FR" dirty="0"/>
              <a:t>DASHBOARD MARCHE AERONAUTIQUE</a:t>
            </a:r>
          </a:p>
        </p:txBody>
      </p:sp>
      <p:pic>
        <p:nvPicPr>
          <p:cNvPr id="8" name="Image 31">
            <a:extLst>
              <a:ext uri="{FF2B5EF4-FFF2-40B4-BE49-F238E27FC236}">
                <a16:creationId xmlns:a16="http://schemas.microsoft.com/office/drawing/2014/main" id="{7E5578D3-3745-4D08-816C-5DE494E4CAA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4064539" y="3483807"/>
            <a:ext cx="936633" cy="936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641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CC955E23-F32A-40DC-941D-B43174DD60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227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CC955E23-F32A-40DC-941D-B43174DD6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C53F206-7E74-462B-9214-12AA6497D8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9B77A387-E35E-4408-85E6-BA5689DA3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5 : Nb d’avions produits non-livrés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B82CE22-E919-4C01-8F14-5DC2F5AF3D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FFDC2EA-0859-4AB1-9FE8-460E154C4D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10</a:t>
            </a:fld>
            <a:endParaRPr lang="fr-FR" dirty="0"/>
          </a:p>
        </p:txBody>
      </p:sp>
      <p:pic>
        <p:nvPicPr>
          <p:cNvPr id="16" name="Image 31">
            <a:extLst>
              <a:ext uri="{FF2B5EF4-FFF2-40B4-BE49-F238E27FC236}">
                <a16:creationId xmlns:a16="http://schemas.microsoft.com/office/drawing/2014/main" id="{06FC6698-3CD9-45A0-A54C-AC72E019C99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B8C1397C-E880-41FA-A7FE-33091FA6CAE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2208084"/>
              </p:ext>
            </p:extLst>
          </p:nvPr>
        </p:nvGraphicFramePr>
        <p:xfrm>
          <a:off x="3406836" y="1772602"/>
          <a:ext cx="4219679" cy="3312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Worksheet" r:id="rId8" imgW="5022788" imgH="3943548" progId="Excel.Sheet.12">
                  <p:embed/>
                </p:oleObj>
              </mc:Choice>
              <mc:Fallback>
                <p:oleObj name="Worksheet" r:id="rId8" imgW="5022788" imgH="3943548" progId="Excel.Sheet.12">
                  <p:embed/>
                  <p:pic>
                    <p:nvPicPr>
                      <p:cNvPr id="4" name="Objet 3">
                        <a:extLst>
                          <a:ext uri="{FF2B5EF4-FFF2-40B4-BE49-F238E27FC236}">
                            <a16:creationId xmlns:a16="http://schemas.microsoft.com/office/drawing/2014/main" id="{B8C1397C-E880-41FA-A7FE-33091FA6C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406836" y="1772602"/>
                        <a:ext cx="4219679" cy="3312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0952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6D9AB6-E237-4C6E-821B-31F8C3ED7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764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5" imgW="421" imgH="425" progId="TCLayout.ActiveDocument.1">
                  <p:embed/>
                </p:oleObj>
              </mc:Choice>
              <mc:Fallback>
                <p:oleObj name="Diapositive think-cell" r:id="rId5" imgW="421" imgH="425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6D9AB6-E237-4C6E-821B-31F8C3ED7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F602319-9FE6-468F-9C64-A3F51797A8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23203ED-EC42-4EE3-B4A9-03B13C87B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cap="small" dirty="0"/>
              <a:t>Faits Marquants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CF6DB7C-9122-47F9-8DB5-454E26AF093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996FB57-2D99-4F2D-AB78-B70B35F5A5D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</a:t>
            </a:fld>
            <a:endParaRPr lang="fr-FR" dirty="0"/>
          </a:p>
        </p:txBody>
      </p:sp>
      <p:pic>
        <p:nvPicPr>
          <p:cNvPr id="15" name="Image 31">
            <a:extLst>
              <a:ext uri="{FF2B5EF4-FFF2-40B4-BE49-F238E27FC236}">
                <a16:creationId xmlns:a16="http://schemas.microsoft.com/office/drawing/2014/main" id="{E5BADAE8-4ADF-4B27-9178-4302935984E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77916895-3A80-4E39-8AA6-C061A20B913A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4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17A54928-8ADB-4B10-900E-B3726C991048}"/>
              </a:ext>
            </a:extLst>
          </p:cNvPr>
          <p:cNvSpPr txBox="1">
            <a:spLocks/>
          </p:cNvSpPr>
          <p:nvPr/>
        </p:nvSpPr>
        <p:spPr>
          <a:xfrm>
            <a:off x="6563999" y="1801583"/>
            <a:ext cx="4858426" cy="3268928"/>
          </a:xfrm>
          <a:prstGeom prst="rect">
            <a:avLst/>
          </a:prstGeom>
        </p:spPr>
        <p:txBody>
          <a:bodyPr/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8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Forte contraction du trafic courant février avant une reprise fin février/début mars </a:t>
            </a:r>
          </a:p>
          <a:p>
            <a:pPr marL="720725" lvl="3" indent="-96838">
              <a:spcBef>
                <a:spcPts val="400"/>
              </a:spcBef>
              <a:buClr>
                <a:srgbClr val="FA6414"/>
              </a:buClr>
              <a:buSzTx/>
              <a:buFont typeface="Arial" pitchFamily="34" charset="0"/>
              <a:buChar char="›"/>
            </a:pPr>
            <a:r>
              <a:rPr lang="fr-CA" sz="1200" dirty="0">
                <a:latin typeface="Calibri" panose="020F0502020204030204" pitchFamily="34" charset="0"/>
                <a:cs typeface="Calibri" panose="020F0502020204030204" pitchFamily="34" charset="0"/>
              </a:rPr>
              <a:t>Reprise des vols domestiques en Chine à un niveau identique à janvier</a:t>
            </a:r>
          </a:p>
          <a:p>
            <a:pPr marL="720725" lvl="3" indent="-96838">
              <a:spcBef>
                <a:spcPts val="400"/>
              </a:spcBef>
              <a:buClr>
                <a:srgbClr val="FA6414"/>
              </a:buClr>
              <a:buSzTx/>
              <a:buFont typeface="Arial" pitchFamily="34" charset="0"/>
              <a:buChar char="›"/>
            </a:pPr>
            <a:r>
              <a:rPr lang="fr-CA" sz="1200" dirty="0">
                <a:latin typeface="Calibri" panose="020F0502020204030204" pitchFamily="34" charset="0"/>
                <a:cs typeface="Calibri" panose="020F0502020204030204" pitchFamily="34" charset="0"/>
              </a:rPr>
              <a:t>Situation toujours dégradée en Europe</a:t>
            </a:r>
            <a:endParaRPr lang="fr-CA" sz="105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20725" lvl="3" indent="-96838">
              <a:spcBef>
                <a:spcPts val="400"/>
              </a:spcBef>
              <a:buClr>
                <a:srgbClr val="FA6414"/>
              </a:buClr>
              <a:buSzTx/>
              <a:buFont typeface="Arial" pitchFamily="34" charset="0"/>
              <a:buChar char="›"/>
            </a:pPr>
            <a:endParaRPr lang="fr-CA" sz="4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lvl="2" indent="-177800"/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30% de la flotte est toujours à l’arrêt (vs 32% en février)</a:t>
            </a:r>
          </a:p>
          <a:p>
            <a:pPr marL="177800" lvl="2" indent="-177800"/>
            <a:endParaRPr lang="fr-FR" baseline="30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lvl="2" indent="-177800"/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A noter que le 12 mars, Les aéroports des États-Unis ont enregistré leur plus forte fréquentation depuis un an</a:t>
            </a:r>
          </a:p>
          <a:p>
            <a:pPr marL="627063" lvl="2" indent="0">
              <a:buClr>
                <a:schemeClr val="accent2"/>
              </a:buClr>
              <a:buNone/>
            </a:pPr>
            <a:endParaRPr lang="fr-FR" sz="1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A68FD972-9CA0-4E04-A011-04EB94EF43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4837" y="1003232"/>
            <a:ext cx="6191781" cy="5645217"/>
          </a:xfrm>
        </p:spPr>
        <p:txBody>
          <a:bodyPr lIns="0" tIns="0" rIns="0" bIns="0"/>
          <a:lstStyle/>
          <a:p>
            <a:pPr marL="0" lvl="2" indent="0" algn="just">
              <a:spcBef>
                <a:spcPts val="200"/>
              </a:spcBef>
              <a:buNone/>
            </a:pPr>
            <a:r>
              <a:rPr lang="fr-FR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irbus</a:t>
            </a:r>
          </a:p>
          <a:p>
            <a:pPr lvl="2" algn="just">
              <a:spcBef>
                <a:spcPts val="200"/>
              </a:spcBef>
            </a:pP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220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: la FAA et son homologue canadien ont demandé aux compagnies aériennes de mener des investigations approfondies sur la structure des A220 suite à la découverte de fissures sur des éclisses. </a:t>
            </a:r>
          </a:p>
          <a:p>
            <a:pPr lvl="2" algn="just">
              <a:spcBef>
                <a:spcPts val="200"/>
              </a:spcBef>
            </a:pP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320 NEO 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la FAA a demandé l’inspection des moteurs LEAp-1A suite à la découverte de non-conformités affectant les carters de la turbine haute pression (« </a:t>
            </a:r>
            <a:r>
              <a:rPr lang="fr-FR" sz="1200" b="0" dirty="0" err="1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ufacturing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b="0" dirty="0" err="1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lity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scape »). Tous les carters défectueux devront être remplacés</a:t>
            </a:r>
          </a:p>
          <a:p>
            <a:pPr marL="0" lvl="2" indent="0" algn="just">
              <a:spcBef>
                <a:spcPts val="200"/>
              </a:spcBef>
              <a:buNone/>
            </a:pPr>
            <a:endParaRPr lang="fr-FR" sz="200" cap="small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75" lvl="1" algn="just">
              <a:spcBef>
                <a:spcPts val="200"/>
              </a:spcBef>
            </a:pPr>
            <a:r>
              <a:rPr lang="fr-FR" sz="1400" b="1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eing</a:t>
            </a:r>
            <a:endParaRPr lang="fr-FR" sz="14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 algn="just">
              <a:spcBef>
                <a:spcPts val="200"/>
              </a:spcBef>
            </a:pP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77X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: Le CEO d’Emirates a fait part de son inquiétude sur un éventuel report d’entrée en service du 777X en 2025</a:t>
            </a:r>
          </a:p>
          <a:p>
            <a:pPr lvl="2" algn="just">
              <a:spcBef>
                <a:spcPts val="200"/>
              </a:spcBef>
            </a:pPr>
            <a:r>
              <a:rPr lang="fr-FR" sz="120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37 MAX 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SMBC Aviation Capital, le troisième loueur d'avions de ligne à annoncer le report de livraisons de 68 Boeing 737 MAX à 2025-2027. </a:t>
            </a:r>
          </a:p>
          <a:p>
            <a:pPr marL="0" lvl="2" indent="0" algn="just">
              <a:spcBef>
                <a:spcPts val="200"/>
              </a:spcBef>
              <a:buNone/>
            </a:pP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 ailleurs, un nouveau problème électrique immobilise 60 737 MAX aux US</a:t>
            </a:r>
          </a:p>
          <a:p>
            <a:pPr marL="0" lvl="2" indent="0" algn="just">
              <a:spcBef>
                <a:spcPts val="200"/>
              </a:spcBef>
              <a:buNone/>
            </a:pPr>
            <a:endParaRPr lang="fr-FR" sz="200" b="0" dirty="0">
              <a:solidFill>
                <a:srgbClr val="1A00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75" lvl="1" algn="just">
              <a:spcBef>
                <a:spcPts val="400"/>
              </a:spcBef>
            </a:pPr>
            <a:r>
              <a:rPr lang="fr-FR" sz="1400" b="1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ls-Royce</a:t>
            </a:r>
          </a:p>
          <a:p>
            <a:pPr lvl="2" algn="just">
              <a:spcBef>
                <a:spcPts val="200"/>
              </a:spcBef>
            </a:pP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R a annoncé le début de l’assemblage de son démonstrateur </a:t>
            </a:r>
            <a:r>
              <a:rPr lang="fr-FR" sz="1200" b="0" dirty="0" err="1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ltraFan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ur son site de Derby</a:t>
            </a:r>
          </a:p>
          <a:p>
            <a:pPr marL="0" lvl="2" indent="0" algn="just">
              <a:spcBef>
                <a:spcPts val="200"/>
              </a:spcBef>
              <a:buNone/>
            </a:pPr>
            <a:endParaRPr lang="fr-FR" sz="200" b="0" dirty="0">
              <a:solidFill>
                <a:srgbClr val="1A00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75" lvl="1" algn="just">
              <a:spcBef>
                <a:spcPts val="400"/>
              </a:spcBef>
            </a:pPr>
            <a:r>
              <a:rPr lang="fr-FR" sz="1400" b="1" cap="small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AF</a:t>
            </a:r>
          </a:p>
          <a:p>
            <a:pPr lvl="2" algn="just">
              <a:spcBef>
                <a:spcPts val="200"/>
              </a:spcBef>
            </a:pP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ssault Aviation et Airbus ont trouvé un accord de principe sur l'avion de combat (Next </a:t>
            </a:r>
            <a:r>
              <a:rPr lang="fr-FR" sz="1200" b="0" dirty="0" err="1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tion</a:t>
            </a:r>
            <a:r>
              <a:rPr lang="fr-FR" sz="1200" b="0" dirty="0">
                <a:solidFill>
                  <a:srgbClr val="1A00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ighter, NGF), pilier 1 du programme Système de combat aérien du futur (SCAF). Les 2 entreprises seront co-responsables du développement du NGF. </a:t>
            </a:r>
          </a:p>
          <a:p>
            <a:pPr marL="0" lvl="2" indent="0" algn="just">
              <a:spcBef>
                <a:spcPts val="200"/>
              </a:spcBef>
              <a:buNone/>
            </a:pPr>
            <a:endParaRPr lang="fr-FR" sz="1200" b="0" dirty="0">
              <a:solidFill>
                <a:srgbClr val="1A00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 algn="just">
              <a:spcBef>
                <a:spcPts val="200"/>
              </a:spcBef>
            </a:pPr>
            <a:endParaRPr lang="fr-FR" sz="1200" b="0" dirty="0">
              <a:solidFill>
                <a:srgbClr val="1A00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 algn="just">
              <a:spcBef>
                <a:spcPts val="200"/>
              </a:spcBef>
            </a:pPr>
            <a:endParaRPr lang="fr-FR" sz="1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6B659271-D2B0-43A6-A615-868AB1F22A09}"/>
              </a:ext>
            </a:extLst>
          </p:cNvPr>
          <p:cNvSpPr txBox="1"/>
          <p:nvPr/>
        </p:nvSpPr>
        <p:spPr>
          <a:xfrm>
            <a:off x="6514424" y="1321436"/>
            <a:ext cx="49575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cap="small" dirty="0">
                <a:solidFill>
                  <a:schemeClr val="accent2"/>
                </a:solidFill>
              </a:rPr>
              <a:t>Trafic </a:t>
            </a:r>
            <a:r>
              <a:rPr lang="fr-FR" sz="1600" b="1" cap="small" dirty="0" err="1">
                <a:solidFill>
                  <a:schemeClr val="accent2"/>
                </a:solidFill>
              </a:rPr>
              <a:t>Aerien</a:t>
            </a:r>
            <a:endParaRPr lang="fr-FR" sz="1600" b="1" cap="small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0292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t 30" hidden="1">
            <a:extLst>
              <a:ext uri="{FF2B5EF4-FFF2-40B4-BE49-F238E27FC236}">
                <a16:creationId xmlns:a16="http://schemas.microsoft.com/office/drawing/2014/main" id="{CF982A77-D6AC-4875-925C-A532A98C61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782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5" imgW="421" imgH="425" progId="TCLayout.ActiveDocument.1">
                  <p:embed/>
                </p:oleObj>
              </mc:Choice>
              <mc:Fallback>
                <p:oleObj name="Diapositive think-cell" r:id="rId5" imgW="421" imgH="425" progId="TCLayout.ActiveDocument.1">
                  <p:embed/>
                  <p:pic>
                    <p:nvPicPr>
                      <p:cNvPr id="31" name="Objet 30" hidden="1">
                        <a:extLst>
                          <a:ext uri="{FF2B5EF4-FFF2-40B4-BE49-F238E27FC236}">
                            <a16:creationId xmlns:a16="http://schemas.microsoft.com/office/drawing/2014/main" id="{CF982A77-D6AC-4875-925C-A532A98C6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5A28ABA-6C67-4EE2-A077-16F333614D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4" name="Image 103">
            <a:extLst>
              <a:ext uri="{FF2B5EF4-FFF2-40B4-BE49-F238E27FC236}">
                <a16:creationId xmlns:a16="http://schemas.microsoft.com/office/drawing/2014/main" id="{66215C4C-F251-4190-B785-4C69A17BD2ED}"/>
              </a:ext>
            </a:extLst>
          </p:cNvPr>
          <p:cNvPicPr>
            <a:picLocks/>
          </p:cNvPicPr>
          <p:nvPr/>
        </p:nvPicPr>
        <p:blipFill rotWithShape="1">
          <a:blip r:embed="rId7"/>
          <a:srcRect l="2155"/>
          <a:stretch/>
        </p:blipFill>
        <p:spPr>
          <a:xfrm>
            <a:off x="46149" y="996537"/>
            <a:ext cx="12024000" cy="5511800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CACBE0A4-49BF-44E3-8C80-6468118A5003}"/>
              </a:ext>
            </a:extLst>
          </p:cNvPr>
          <p:cNvSpPr/>
          <p:nvPr/>
        </p:nvSpPr>
        <p:spPr>
          <a:xfrm>
            <a:off x="198108" y="1315121"/>
            <a:ext cx="5875199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5C23025C-ABF2-4F91-95FF-0E90933945D8}"/>
              </a:ext>
            </a:extLst>
          </p:cNvPr>
          <p:cNvSpPr/>
          <p:nvPr/>
        </p:nvSpPr>
        <p:spPr>
          <a:xfrm>
            <a:off x="200025" y="1029935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tion du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fic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bdomadaire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b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 vol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mé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660FD56-7A4F-47E5-8616-21914FCCB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cap="small" dirty="0"/>
              <a:t>Dashboard Trafic Aérien Février / Mars 2021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10CC8E6-A477-4C1F-9258-1E84E759FB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0C2ECF1-C101-40BA-B4EF-F194AC4BE9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3</a:t>
            </a:fld>
            <a:endParaRPr lang="fr-FR" dirty="0"/>
          </a:p>
        </p:txBody>
      </p:sp>
      <p:pic>
        <p:nvPicPr>
          <p:cNvPr id="164" name="Image 31">
            <a:extLst>
              <a:ext uri="{FF2B5EF4-FFF2-40B4-BE49-F238E27FC236}">
                <a16:creationId xmlns:a16="http://schemas.microsoft.com/office/drawing/2014/main" id="{FFB04B5B-5CAF-4185-B796-63B230BDDF0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64" name="Ellipse 63">
            <a:extLst>
              <a:ext uri="{FF2B5EF4-FFF2-40B4-BE49-F238E27FC236}">
                <a16:creationId xmlns:a16="http://schemas.microsoft.com/office/drawing/2014/main" id="{9178FCED-3A7C-426B-AA98-4D270384ACFF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1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D246083-010F-4C9B-9CD8-31978639B100}"/>
              </a:ext>
            </a:extLst>
          </p:cNvPr>
          <p:cNvSpPr/>
          <p:nvPr/>
        </p:nvSpPr>
        <p:spPr>
          <a:xfrm>
            <a:off x="6178545" y="1305880"/>
            <a:ext cx="5875199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FBFF67A-440C-4BF4-909A-C9FBD29357D0}"/>
              </a:ext>
            </a:extLst>
          </p:cNvPr>
          <p:cNvSpPr/>
          <p:nvPr/>
        </p:nvSpPr>
        <p:spPr>
          <a:xfrm>
            <a:off x="6178546" y="1029935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tion du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fic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nsuel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KPK), YoY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33BE535-BEA1-47DF-9882-B02E4E1D9238}"/>
              </a:ext>
            </a:extLst>
          </p:cNvPr>
          <p:cNvSpPr txBox="1"/>
          <p:nvPr/>
        </p:nvSpPr>
        <p:spPr>
          <a:xfrm>
            <a:off x="5404131" y="3532429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</a:t>
            </a:r>
            <a:r>
              <a:rPr lang="fr-FR" sz="600" dirty="0" err="1">
                <a:solidFill>
                  <a:schemeClr val="tx2"/>
                </a:solidFill>
              </a:rPr>
              <a:t>Cirium</a:t>
            </a:r>
            <a:endParaRPr lang="fr-FR" sz="600" dirty="0">
              <a:solidFill>
                <a:schemeClr val="tx2"/>
              </a:solidFill>
            </a:endParaRPr>
          </a:p>
        </p:txBody>
      </p:sp>
      <p:sp>
        <p:nvSpPr>
          <p:cNvPr id="93" name="ZoneTexte 92">
            <a:extLst>
              <a:ext uri="{FF2B5EF4-FFF2-40B4-BE49-F238E27FC236}">
                <a16:creationId xmlns:a16="http://schemas.microsoft.com/office/drawing/2014/main" id="{5926F622-9C71-4197-AC8E-C94300BA25E0}"/>
              </a:ext>
            </a:extLst>
          </p:cNvPr>
          <p:cNvSpPr txBox="1"/>
          <p:nvPr/>
        </p:nvSpPr>
        <p:spPr>
          <a:xfrm>
            <a:off x="11450687" y="6256797"/>
            <a:ext cx="936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OAG</a:t>
            </a:r>
          </a:p>
        </p:txBody>
      </p:sp>
      <p:sp>
        <p:nvSpPr>
          <p:cNvPr id="290" name="Rectangle 289" hidden="1">
            <a:extLst>
              <a:ext uri="{FF2B5EF4-FFF2-40B4-BE49-F238E27FC236}">
                <a16:creationId xmlns:a16="http://schemas.microsoft.com/office/drawing/2014/main" id="{63663CCE-F698-4769-A5BD-BAF749BF3F4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9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5" name="ZoneTexte 294">
            <a:extLst>
              <a:ext uri="{FF2B5EF4-FFF2-40B4-BE49-F238E27FC236}">
                <a16:creationId xmlns:a16="http://schemas.microsoft.com/office/drawing/2014/main" id="{8CB4C2FD-367C-4879-8586-35DF1CE6DBB3}"/>
              </a:ext>
            </a:extLst>
          </p:cNvPr>
          <p:cNvSpPr txBox="1"/>
          <p:nvPr/>
        </p:nvSpPr>
        <p:spPr>
          <a:xfrm>
            <a:off x="6181068" y="1325228"/>
            <a:ext cx="29034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olution du trafic international (RPK) </a:t>
            </a:r>
            <a:r>
              <a:rPr lang="fr-FR" sz="9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Y</a:t>
            </a:r>
            <a:endParaRPr lang="fr-FR" sz="9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ZoneTexte 239">
            <a:extLst>
              <a:ext uri="{FF2B5EF4-FFF2-40B4-BE49-F238E27FC236}">
                <a16:creationId xmlns:a16="http://schemas.microsoft.com/office/drawing/2014/main" id="{4BFD82B9-2B97-400C-8DA4-4E07A801D006}"/>
              </a:ext>
            </a:extLst>
          </p:cNvPr>
          <p:cNvSpPr txBox="1"/>
          <p:nvPr/>
        </p:nvSpPr>
        <p:spPr>
          <a:xfrm>
            <a:off x="9214937" y="1325228"/>
            <a:ext cx="29034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olution du trafic domestique (RPK) </a:t>
            </a:r>
            <a:r>
              <a:rPr lang="fr-FR" sz="9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Y</a:t>
            </a:r>
            <a:endParaRPr lang="fr-FR" sz="9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41" name="Connecteur droit 240">
            <a:extLst>
              <a:ext uri="{FF2B5EF4-FFF2-40B4-BE49-F238E27FC236}">
                <a16:creationId xmlns:a16="http://schemas.microsoft.com/office/drawing/2014/main" id="{8D72865D-2B00-4738-A799-D04F074D05F0}"/>
              </a:ext>
            </a:extLst>
          </p:cNvPr>
          <p:cNvCxnSpPr/>
          <p:nvPr/>
        </p:nvCxnSpPr>
        <p:spPr>
          <a:xfrm flipV="1">
            <a:off x="6236114" y="1551906"/>
            <a:ext cx="2736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Connecteur droit 241">
            <a:extLst>
              <a:ext uri="{FF2B5EF4-FFF2-40B4-BE49-F238E27FC236}">
                <a16:creationId xmlns:a16="http://schemas.microsoft.com/office/drawing/2014/main" id="{53E0D234-6E24-49BC-A813-740A80CE002B}"/>
              </a:ext>
            </a:extLst>
          </p:cNvPr>
          <p:cNvCxnSpPr/>
          <p:nvPr/>
        </p:nvCxnSpPr>
        <p:spPr>
          <a:xfrm flipV="1">
            <a:off x="9266980" y="1551906"/>
            <a:ext cx="2736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ZoneTexte 252">
            <a:extLst>
              <a:ext uri="{FF2B5EF4-FFF2-40B4-BE49-F238E27FC236}">
                <a16:creationId xmlns:a16="http://schemas.microsoft.com/office/drawing/2014/main" id="{5B7BEAA7-762F-4520-BAD8-1384991C01A8}"/>
              </a:ext>
            </a:extLst>
          </p:cNvPr>
          <p:cNvSpPr txBox="1"/>
          <p:nvPr/>
        </p:nvSpPr>
        <p:spPr>
          <a:xfrm>
            <a:off x="5487539" y="6251042"/>
            <a:ext cx="936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OAG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ED060875-6636-47DE-9497-BD6D97DEE22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50139" y="1586233"/>
            <a:ext cx="2746098" cy="2092497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CF01A1BA-A520-4A08-BC84-CD8B8FEAC44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52586" y="1654129"/>
            <a:ext cx="2652710" cy="1942245"/>
          </a:xfrm>
          <a:prstGeom prst="rect">
            <a:avLst/>
          </a:prstGeom>
        </p:spPr>
      </p:pic>
      <p:sp>
        <p:nvSpPr>
          <p:cNvPr id="92" name="ZoneTexte 91">
            <a:extLst>
              <a:ext uri="{FF2B5EF4-FFF2-40B4-BE49-F238E27FC236}">
                <a16:creationId xmlns:a16="http://schemas.microsoft.com/office/drawing/2014/main" id="{64114A14-DD21-4B7F-A7D8-A1E595EE094B}"/>
              </a:ext>
            </a:extLst>
          </p:cNvPr>
          <p:cNvSpPr txBox="1"/>
          <p:nvPr/>
        </p:nvSpPr>
        <p:spPr>
          <a:xfrm>
            <a:off x="11142272" y="3520162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IATA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13EC5B14-4751-425E-B856-8B4CC7621C7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4009" b="3093"/>
          <a:stretch/>
        </p:blipFill>
        <p:spPr>
          <a:xfrm>
            <a:off x="752371" y="1362842"/>
            <a:ext cx="4735168" cy="2233532"/>
          </a:xfrm>
          <a:prstGeom prst="rect">
            <a:avLst/>
          </a:prstGeom>
        </p:spPr>
      </p:pic>
      <p:sp>
        <p:nvSpPr>
          <p:cNvPr id="98" name="Rectangle 97">
            <a:extLst>
              <a:ext uri="{FF2B5EF4-FFF2-40B4-BE49-F238E27FC236}">
                <a16:creationId xmlns:a16="http://schemas.microsoft.com/office/drawing/2014/main" id="{36B65000-BE90-4DC0-B063-1E0C6DC8E64A}"/>
              </a:ext>
            </a:extLst>
          </p:cNvPr>
          <p:cNvSpPr/>
          <p:nvPr/>
        </p:nvSpPr>
        <p:spPr>
          <a:xfrm>
            <a:off x="198108" y="4071460"/>
            <a:ext cx="5875199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6037D18-8E6A-4999-B3CD-D6696E7C8D29}"/>
              </a:ext>
            </a:extLst>
          </p:cNvPr>
          <p:cNvSpPr/>
          <p:nvPr/>
        </p:nvSpPr>
        <p:spPr>
          <a:xfrm>
            <a:off x="6158637" y="4071460"/>
            <a:ext cx="5875199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109BD84-4ECE-41E7-A595-53FBB9E269E4}"/>
              </a:ext>
            </a:extLst>
          </p:cNvPr>
          <p:cNvSpPr/>
          <p:nvPr/>
        </p:nvSpPr>
        <p:spPr>
          <a:xfrm>
            <a:off x="216429" y="3798430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tion de la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bilisatio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 la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otte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érienn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DFFD46C-FFA4-47CB-9E16-BB7EFFAE0DEF}"/>
              </a:ext>
            </a:extLst>
          </p:cNvPr>
          <p:cNvSpPr/>
          <p:nvPr/>
        </p:nvSpPr>
        <p:spPr>
          <a:xfrm>
            <a:off x="6194950" y="3798430"/>
            <a:ext cx="5875199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iffres-clé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fic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érie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B96E697-17D2-428C-89B5-1B12F9EFABA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</a:endParaRPr>
          </a:p>
        </p:txBody>
      </p:sp>
      <p:pic>
        <p:nvPicPr>
          <p:cNvPr id="97" name="Image 96">
            <a:extLst>
              <a:ext uri="{FF2B5EF4-FFF2-40B4-BE49-F238E27FC236}">
                <a16:creationId xmlns:a16="http://schemas.microsoft.com/office/drawing/2014/main" id="{48C40265-097C-4437-B9D8-87F15D65189B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79573"/>
          <a:stretch/>
        </p:blipFill>
        <p:spPr>
          <a:xfrm>
            <a:off x="7467983" y="5330178"/>
            <a:ext cx="4361467" cy="596479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5323905-2CDE-40BE-9F76-189DABBD1A5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25142" b="2229"/>
          <a:stretch/>
        </p:blipFill>
        <p:spPr>
          <a:xfrm>
            <a:off x="842003" y="4125938"/>
            <a:ext cx="4560206" cy="2217437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B9394501-9C2E-4385-90BF-9F318383119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60935" y="4428885"/>
            <a:ext cx="4357220" cy="639834"/>
          </a:xfrm>
          <a:prstGeom prst="rect">
            <a:avLst/>
          </a:prstGeom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DFD0CFEB-ECEE-4E38-B4A3-82FE5E0F2DBB}"/>
              </a:ext>
            </a:extLst>
          </p:cNvPr>
          <p:cNvSpPr txBox="1"/>
          <p:nvPr/>
        </p:nvSpPr>
        <p:spPr>
          <a:xfrm>
            <a:off x="6347325" y="4660902"/>
            <a:ext cx="2032000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Arial" panose="020B0604020202020204" pitchFamily="34" charset="0"/>
              </a:rPr>
              <a:t>Février 2021</a:t>
            </a:r>
          </a:p>
        </p:txBody>
      </p:sp>
      <p:sp>
        <p:nvSpPr>
          <p:cNvPr id="107" name="ZoneTexte 106">
            <a:extLst>
              <a:ext uri="{FF2B5EF4-FFF2-40B4-BE49-F238E27FC236}">
                <a16:creationId xmlns:a16="http://schemas.microsoft.com/office/drawing/2014/main" id="{910D5080-1565-4355-8554-B1CA241378BA}"/>
              </a:ext>
            </a:extLst>
          </p:cNvPr>
          <p:cNvSpPr txBox="1"/>
          <p:nvPr/>
        </p:nvSpPr>
        <p:spPr>
          <a:xfrm>
            <a:off x="6347325" y="5600402"/>
            <a:ext cx="2032000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Arial" panose="020B0604020202020204" pitchFamily="34" charset="0"/>
              </a:rPr>
              <a:t>Mars 2021</a:t>
            </a:r>
          </a:p>
        </p:txBody>
      </p: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C2A910B8-F5CB-40E9-9E79-6548EBD9A736}"/>
              </a:ext>
            </a:extLst>
          </p:cNvPr>
          <p:cNvCxnSpPr/>
          <p:nvPr/>
        </p:nvCxnSpPr>
        <p:spPr>
          <a:xfrm>
            <a:off x="1270000" y="3517927"/>
            <a:ext cx="777240" cy="0"/>
          </a:xfrm>
          <a:prstGeom prst="straightConnector1">
            <a:avLst/>
          </a:prstGeom>
          <a:ln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necteur droit avec flèche 109">
            <a:extLst>
              <a:ext uri="{FF2B5EF4-FFF2-40B4-BE49-F238E27FC236}">
                <a16:creationId xmlns:a16="http://schemas.microsoft.com/office/drawing/2014/main" id="{AB179ED3-C92F-4DCD-AB77-7B7568E633D4}"/>
              </a:ext>
            </a:extLst>
          </p:cNvPr>
          <p:cNvCxnSpPr>
            <a:cxnSpLocks/>
          </p:cNvCxnSpPr>
          <p:nvPr/>
        </p:nvCxnSpPr>
        <p:spPr>
          <a:xfrm>
            <a:off x="2118360" y="3517927"/>
            <a:ext cx="1080000" cy="0"/>
          </a:xfrm>
          <a:prstGeom prst="straightConnector1">
            <a:avLst/>
          </a:prstGeom>
          <a:ln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avec flèche 110">
            <a:extLst>
              <a:ext uri="{FF2B5EF4-FFF2-40B4-BE49-F238E27FC236}">
                <a16:creationId xmlns:a16="http://schemas.microsoft.com/office/drawing/2014/main" id="{43249D6E-D2EC-4278-B920-3878A12F4889}"/>
              </a:ext>
            </a:extLst>
          </p:cNvPr>
          <p:cNvCxnSpPr>
            <a:cxnSpLocks/>
          </p:cNvCxnSpPr>
          <p:nvPr/>
        </p:nvCxnSpPr>
        <p:spPr>
          <a:xfrm>
            <a:off x="3276600" y="3517927"/>
            <a:ext cx="1080000" cy="0"/>
          </a:xfrm>
          <a:prstGeom prst="straightConnector1">
            <a:avLst/>
          </a:prstGeom>
          <a:ln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>
            <a:extLst>
              <a:ext uri="{FF2B5EF4-FFF2-40B4-BE49-F238E27FC236}">
                <a16:creationId xmlns:a16="http://schemas.microsoft.com/office/drawing/2014/main" id="{9B116BF7-25BC-425A-858C-5682142B7552}"/>
              </a:ext>
            </a:extLst>
          </p:cNvPr>
          <p:cNvSpPr txBox="1"/>
          <p:nvPr/>
        </p:nvSpPr>
        <p:spPr>
          <a:xfrm>
            <a:off x="1319771" y="3519397"/>
            <a:ext cx="648000" cy="123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/>
                </a:solidFill>
                <a:latin typeface="Arial" panose="020B0604020202020204" pitchFamily="34" charset="0"/>
              </a:rPr>
              <a:t>Janvier</a:t>
            </a:r>
          </a:p>
        </p:txBody>
      </p:sp>
      <p:sp>
        <p:nvSpPr>
          <p:cNvPr id="115" name="ZoneTexte 114">
            <a:extLst>
              <a:ext uri="{FF2B5EF4-FFF2-40B4-BE49-F238E27FC236}">
                <a16:creationId xmlns:a16="http://schemas.microsoft.com/office/drawing/2014/main" id="{25890D2B-A7D3-442B-93E9-27F53F8203DE}"/>
              </a:ext>
            </a:extLst>
          </p:cNvPr>
          <p:cNvSpPr txBox="1"/>
          <p:nvPr/>
        </p:nvSpPr>
        <p:spPr>
          <a:xfrm>
            <a:off x="2354680" y="3519397"/>
            <a:ext cx="648000" cy="123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/>
                </a:solidFill>
                <a:latin typeface="Arial" panose="020B0604020202020204" pitchFamily="34" charset="0"/>
              </a:rPr>
              <a:t>Février</a:t>
            </a:r>
          </a:p>
        </p:txBody>
      </p:sp>
      <p:sp>
        <p:nvSpPr>
          <p:cNvPr id="116" name="ZoneTexte 115">
            <a:extLst>
              <a:ext uri="{FF2B5EF4-FFF2-40B4-BE49-F238E27FC236}">
                <a16:creationId xmlns:a16="http://schemas.microsoft.com/office/drawing/2014/main" id="{C436F218-BEA1-486F-B112-861579B802A5}"/>
              </a:ext>
            </a:extLst>
          </p:cNvPr>
          <p:cNvSpPr txBox="1"/>
          <p:nvPr/>
        </p:nvSpPr>
        <p:spPr>
          <a:xfrm>
            <a:off x="3492600" y="3519397"/>
            <a:ext cx="648000" cy="123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/>
                </a:solidFill>
                <a:latin typeface="Arial" panose="020B0604020202020204" pitchFamily="34" charset="0"/>
              </a:rPr>
              <a:t>Mars</a:t>
            </a:r>
          </a:p>
        </p:txBody>
      </p:sp>
      <p:cxnSp>
        <p:nvCxnSpPr>
          <p:cNvPr id="224" name="Connecteur droit 223">
            <a:extLst>
              <a:ext uri="{FF2B5EF4-FFF2-40B4-BE49-F238E27FC236}">
                <a16:creationId xmlns:a16="http://schemas.microsoft.com/office/drawing/2014/main" id="{62F3F9D0-C2AD-48F3-9AD7-295E4EE8BB54}"/>
              </a:ext>
            </a:extLst>
          </p:cNvPr>
          <p:cNvCxnSpPr>
            <a:cxnSpLocks/>
          </p:cNvCxnSpPr>
          <p:nvPr/>
        </p:nvCxnSpPr>
        <p:spPr>
          <a:xfrm rot="5400000">
            <a:off x="1133880" y="2570056"/>
            <a:ext cx="1908000" cy="0"/>
          </a:xfrm>
          <a:prstGeom prst="line">
            <a:avLst/>
          </a:prstGeom>
          <a:ln w="6350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117">
            <a:extLst>
              <a:ext uri="{FF2B5EF4-FFF2-40B4-BE49-F238E27FC236}">
                <a16:creationId xmlns:a16="http://schemas.microsoft.com/office/drawing/2014/main" id="{3712C1A0-F9AD-4284-90D0-C98C189AD33D}"/>
              </a:ext>
            </a:extLst>
          </p:cNvPr>
          <p:cNvCxnSpPr>
            <a:cxnSpLocks/>
          </p:cNvCxnSpPr>
          <p:nvPr/>
        </p:nvCxnSpPr>
        <p:spPr>
          <a:xfrm rot="5400000">
            <a:off x="2285000" y="2570056"/>
            <a:ext cx="1908000" cy="0"/>
          </a:xfrm>
          <a:prstGeom prst="line">
            <a:avLst/>
          </a:prstGeom>
          <a:ln w="6350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ZoneTexte 120">
            <a:extLst>
              <a:ext uri="{FF2B5EF4-FFF2-40B4-BE49-F238E27FC236}">
                <a16:creationId xmlns:a16="http://schemas.microsoft.com/office/drawing/2014/main" id="{CF6FD9A7-F4F8-4EAA-9723-23B26D03E5D6}"/>
              </a:ext>
            </a:extLst>
          </p:cNvPr>
          <p:cNvSpPr txBox="1"/>
          <p:nvPr/>
        </p:nvSpPr>
        <p:spPr>
          <a:xfrm>
            <a:off x="5404131" y="6279362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</a:t>
            </a:r>
            <a:r>
              <a:rPr lang="fr-FR" sz="600" dirty="0" err="1">
                <a:solidFill>
                  <a:schemeClr val="tx2"/>
                </a:solidFill>
              </a:rPr>
              <a:t>Cirium</a:t>
            </a:r>
            <a:endParaRPr lang="fr-FR" sz="600" dirty="0">
              <a:solidFill>
                <a:schemeClr val="tx2"/>
              </a:solidFill>
            </a:endParaRPr>
          </a:p>
        </p:txBody>
      </p:sp>
      <p:sp>
        <p:nvSpPr>
          <p:cNvPr id="122" name="ZoneTexte 121">
            <a:extLst>
              <a:ext uri="{FF2B5EF4-FFF2-40B4-BE49-F238E27FC236}">
                <a16:creationId xmlns:a16="http://schemas.microsoft.com/office/drawing/2014/main" id="{27321596-2308-40B7-9AB8-B4B01299F9B2}"/>
              </a:ext>
            </a:extLst>
          </p:cNvPr>
          <p:cNvSpPr txBox="1"/>
          <p:nvPr/>
        </p:nvSpPr>
        <p:spPr>
          <a:xfrm>
            <a:off x="11358921" y="6279362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: </a:t>
            </a:r>
            <a:r>
              <a:rPr lang="fr-FR" sz="600" dirty="0" err="1">
                <a:solidFill>
                  <a:schemeClr val="tx2"/>
                </a:solidFill>
              </a:rPr>
              <a:t>Cirium</a:t>
            </a:r>
            <a:endParaRPr lang="fr-FR" sz="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402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7E14FF0-0B68-4969-BEF0-799A891BCBC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46093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86" imgW="344" imgH="344" progId="TCLayout.ActiveDocument.1">
                  <p:embed/>
                </p:oleObj>
              </mc:Choice>
              <mc:Fallback>
                <p:oleObj name="Diapositive think-cell" r:id="rId86" imgW="344" imgH="344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7E14FF0-0B68-4969-BEF0-799A891BC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0A373AB-AD61-4AED-871E-8986A038C3B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28" name="Image 627">
            <a:extLst>
              <a:ext uri="{FF2B5EF4-FFF2-40B4-BE49-F238E27FC236}">
                <a16:creationId xmlns:a16="http://schemas.microsoft.com/office/drawing/2014/main" id="{28B31F95-BE17-4F95-B08B-A75F5988F9D5}"/>
              </a:ext>
            </a:extLst>
          </p:cNvPr>
          <p:cNvPicPr>
            <a:picLocks/>
          </p:cNvPicPr>
          <p:nvPr/>
        </p:nvPicPr>
        <p:blipFill rotWithShape="1">
          <a:blip r:embed="rId88"/>
          <a:srcRect l="2155"/>
          <a:stretch/>
        </p:blipFill>
        <p:spPr>
          <a:xfrm>
            <a:off x="84000" y="975360"/>
            <a:ext cx="12024000" cy="5511310"/>
          </a:xfrm>
          <a:prstGeom prst="rect">
            <a:avLst/>
          </a:prstGeom>
        </p:spPr>
      </p:pic>
      <p:sp>
        <p:nvSpPr>
          <p:cNvPr id="259" name="Rectangle 258">
            <a:extLst>
              <a:ext uri="{FF2B5EF4-FFF2-40B4-BE49-F238E27FC236}">
                <a16:creationId xmlns:a16="http://schemas.microsoft.com/office/drawing/2014/main" id="{23E859CE-D762-473B-A6A4-43916782E141}"/>
              </a:ext>
            </a:extLst>
          </p:cNvPr>
          <p:cNvSpPr/>
          <p:nvPr/>
        </p:nvSpPr>
        <p:spPr>
          <a:xfrm>
            <a:off x="6872286" y="3999379"/>
            <a:ext cx="5148264" cy="2423329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872287" y="1311251"/>
            <a:ext cx="5129213" cy="2353396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58750" y="3999380"/>
            <a:ext cx="2835275" cy="242362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82563" y="1296013"/>
            <a:ext cx="2809875" cy="23749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891338" y="1035049"/>
            <a:ext cx="5129213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ande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/Annulations YT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00026" y="1019234"/>
            <a:ext cx="2809875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iffres-clé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a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637BB9-5738-4644-B55B-C7F69DDAAE70}"/>
              </a:ext>
            </a:extLst>
          </p:cNvPr>
          <p:cNvSpPr/>
          <p:nvPr/>
        </p:nvSpPr>
        <p:spPr>
          <a:xfrm>
            <a:off x="134800" y="3724391"/>
            <a:ext cx="2833688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en-US" sz="1400" b="1" kern="0" dirty="0">
                <a:solidFill>
                  <a:schemeClr val="bg1"/>
                </a:solidFill>
                <a:latin typeface="Calibri"/>
              </a:rPr>
              <a:t>Backlog YTD</a:t>
            </a:r>
          </a:p>
        </p:txBody>
      </p:sp>
      <p:pic>
        <p:nvPicPr>
          <p:cNvPr id="288" name="Image 287">
            <a:extLst>
              <a:ext uri="{FF2B5EF4-FFF2-40B4-BE49-F238E27FC236}">
                <a16:creationId xmlns:a16="http://schemas.microsoft.com/office/drawing/2014/main" id="{E97DC373-C2F1-4407-B1E9-062788795879}"/>
              </a:ext>
            </a:extLst>
          </p:cNvPr>
          <p:cNvPicPr>
            <a:picLocks/>
          </p:cNvPicPr>
          <p:nvPr/>
        </p:nvPicPr>
        <p:blipFill>
          <a:blip r:embed="rId89"/>
          <a:stretch>
            <a:fillRect/>
          </a:stretch>
        </p:blipFill>
        <p:spPr>
          <a:xfrm>
            <a:off x="7708107" y="3226749"/>
            <a:ext cx="684213" cy="455613"/>
          </a:xfrm>
          <a:prstGeom prst="rect">
            <a:avLst/>
          </a:prstGeom>
        </p:spPr>
      </p:pic>
      <p:pic>
        <p:nvPicPr>
          <p:cNvPr id="289" name="Image 288">
            <a:extLst>
              <a:ext uri="{FF2B5EF4-FFF2-40B4-BE49-F238E27FC236}">
                <a16:creationId xmlns:a16="http://schemas.microsoft.com/office/drawing/2014/main" id="{D3A2FE86-7E4C-444A-AF3A-E5EE7E89CA36}"/>
              </a:ext>
            </a:extLst>
          </p:cNvPr>
          <p:cNvPicPr>
            <a:picLocks/>
          </p:cNvPicPr>
          <p:nvPr/>
        </p:nvPicPr>
        <p:blipFill rotWithShape="1">
          <a:blip r:embed="rId90"/>
          <a:srcRect t="63342"/>
          <a:stretch/>
        </p:blipFill>
        <p:spPr>
          <a:xfrm>
            <a:off x="10658667" y="3365997"/>
            <a:ext cx="684213" cy="166688"/>
          </a:xfrm>
          <a:prstGeom prst="rect">
            <a:avLst/>
          </a:prstGeom>
        </p:spPr>
      </p:pic>
      <p:cxnSp>
        <p:nvCxnSpPr>
          <p:cNvPr id="320" name="Connecteur droit 319">
            <a:extLst>
              <a:ext uri="{FF2B5EF4-FFF2-40B4-BE49-F238E27FC236}">
                <a16:creationId xmlns:a16="http://schemas.microsoft.com/office/drawing/2014/main" id="{F605B200-D509-4610-9158-195EB3354579}"/>
              </a:ext>
            </a:extLst>
          </p:cNvPr>
          <p:cNvCxnSpPr>
            <a:cxnSpLocks/>
          </p:cNvCxnSpPr>
          <p:nvPr/>
        </p:nvCxnSpPr>
        <p:spPr>
          <a:xfrm>
            <a:off x="9426573" y="1506451"/>
            <a:ext cx="0" cy="1798638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7" name="Titre 586">
            <a:extLst>
              <a:ext uri="{FF2B5EF4-FFF2-40B4-BE49-F238E27FC236}">
                <a16:creationId xmlns:a16="http://schemas.microsoft.com/office/drawing/2014/main" id="{7FC2D976-FF61-496E-BC30-76433C060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cap="small" dirty="0"/>
              <a:t>Dashboard Airbus/Boeing Mars 2021</a:t>
            </a:r>
          </a:p>
        </p:txBody>
      </p:sp>
      <p:sp>
        <p:nvSpPr>
          <p:cNvPr id="18" name="Espace réservé du pied de page 17">
            <a:extLst>
              <a:ext uri="{FF2B5EF4-FFF2-40B4-BE49-F238E27FC236}">
                <a16:creationId xmlns:a16="http://schemas.microsoft.com/office/drawing/2014/main" id="{C818D617-BDA1-4FA4-AD0B-655F504386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13034FE2-4385-4DCF-B23C-99CE479BC16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4</a:t>
            </a:fld>
            <a:endParaRPr lang="fr-FR" dirty="0"/>
          </a:p>
        </p:txBody>
      </p:sp>
      <p:pic>
        <p:nvPicPr>
          <p:cNvPr id="163" name="Image 31">
            <a:extLst>
              <a:ext uri="{FF2B5EF4-FFF2-40B4-BE49-F238E27FC236}">
                <a16:creationId xmlns:a16="http://schemas.microsoft.com/office/drawing/2014/main" id="{3BC3DAD2-8ED9-424E-A55E-E1890FE3F429}"/>
              </a:ext>
            </a:extLst>
          </p:cNvPr>
          <p:cNvPicPr>
            <a:picLocks noChangeAspect="1"/>
          </p:cNvPicPr>
          <p:nvPr/>
        </p:nvPicPr>
        <p:blipFill>
          <a:blip r:embed="rId9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138" name="Ellipse 137">
            <a:extLst>
              <a:ext uri="{FF2B5EF4-FFF2-40B4-BE49-F238E27FC236}">
                <a16:creationId xmlns:a16="http://schemas.microsoft.com/office/drawing/2014/main" id="{D7F57ED2-D42E-4509-B433-A35419661A4D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2</a:t>
            </a:r>
          </a:p>
        </p:txBody>
      </p:sp>
      <p:sp>
        <p:nvSpPr>
          <p:cNvPr id="188" name="ZoneTexte 187">
            <a:extLst>
              <a:ext uri="{FF2B5EF4-FFF2-40B4-BE49-F238E27FC236}">
                <a16:creationId xmlns:a16="http://schemas.microsoft.com/office/drawing/2014/main" id="{B233AC82-61AF-4922-9585-CDF930F28EA9}"/>
              </a:ext>
            </a:extLst>
          </p:cNvPr>
          <p:cNvSpPr txBox="1"/>
          <p:nvPr/>
        </p:nvSpPr>
        <p:spPr>
          <a:xfrm>
            <a:off x="2042227" y="3480842"/>
            <a:ext cx="10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cxnSp>
        <p:nvCxnSpPr>
          <p:cNvPr id="239" name="Connecteur droit 238">
            <a:extLst>
              <a:ext uri="{FF2B5EF4-FFF2-40B4-BE49-F238E27FC236}">
                <a16:creationId xmlns:a16="http://schemas.microsoft.com/office/drawing/2014/main" id="{13F1A2BD-C98E-43DB-8866-363DC24BF96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494713" y="4389438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Connecteur droit 237">
            <a:extLst>
              <a:ext uri="{FF2B5EF4-FFF2-40B4-BE49-F238E27FC236}">
                <a16:creationId xmlns:a16="http://schemas.microsoft.com/office/drawing/2014/main" id="{E9D357AF-B119-44D4-A938-72657FD66F5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126413" y="4659313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necteur droit 236">
            <a:extLst>
              <a:ext uri="{FF2B5EF4-FFF2-40B4-BE49-F238E27FC236}">
                <a16:creationId xmlns:a16="http://schemas.microsoft.com/office/drawing/2014/main" id="{7465A2B5-A087-41D9-BDCF-605FFF5D996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756525" y="491172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Connecteur droit 235">
            <a:extLst>
              <a:ext uri="{FF2B5EF4-FFF2-40B4-BE49-F238E27FC236}">
                <a16:creationId xmlns:a16="http://schemas.microsoft.com/office/drawing/2014/main" id="{AA1FDE45-0B9D-4D01-B3C9-677FB72BB1F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388225" y="575627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Connecteur droit 239">
            <a:extLst>
              <a:ext uri="{FF2B5EF4-FFF2-40B4-BE49-F238E27FC236}">
                <a16:creationId xmlns:a16="http://schemas.microsoft.com/office/drawing/2014/main" id="{128DD387-22BD-42A3-B808-54C04F58229B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864600" y="4371975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1" name="Chart 3">
            <a:extLst>
              <a:ext uri="{FF2B5EF4-FFF2-40B4-BE49-F238E27FC236}">
                <a16:creationId xmlns:a16="http://schemas.microsoft.com/office/drawing/2014/main" id="{3EA2CB32-A950-4914-8612-48BDDEF0C6B4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876410676"/>
              </p:ext>
            </p:extLst>
          </p:nvPr>
        </p:nvGraphicFramePr>
        <p:xfrm>
          <a:off x="7018338" y="4187825"/>
          <a:ext cx="2379662" cy="1776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2"/>
          </a:graphicData>
        </a:graphic>
      </p:graphicFrame>
      <p:sp>
        <p:nvSpPr>
          <p:cNvPr id="250" name="Espace réservé du texte 2">
            <a:extLst>
              <a:ext uri="{FF2B5EF4-FFF2-40B4-BE49-F238E27FC236}">
                <a16:creationId xmlns:a16="http://schemas.microsoft.com/office/drawing/2014/main" id="{310F3317-B6FE-436B-A317-50F2F752A60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001125" y="5919788"/>
            <a:ext cx="2571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B37910B-B3DF-4DE9-90E3-3B9CF516CD99}" type="datetime'''To''''''''''''''''''t''''''''''''''a''''''''l'">
              <a:rPr lang="fr-FR" altLang="en-US" sz="9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</a:t>
            </a:fld>
            <a:endParaRPr lang="fr-FR" sz="9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4" name="Espace réservé du texte 2">
            <a:extLst>
              <a:ext uri="{FF2B5EF4-FFF2-40B4-BE49-F238E27FC236}">
                <a16:creationId xmlns:a16="http://schemas.microsoft.com/office/drawing/2014/main" id="{44704398-683D-48B0-AC44-89855D366DA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59625" y="5919788"/>
            <a:ext cx="250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8CC3E5A-60DC-4D01-941B-0D1EE24E4FB8}" type="datetime'''''''''''A''''''''''''''''''''''''''2''''''''''''''2''0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22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8" name="Espace réservé du texte 2">
            <a:extLst>
              <a:ext uri="{FF2B5EF4-FFF2-40B4-BE49-F238E27FC236}">
                <a16:creationId xmlns:a16="http://schemas.microsoft.com/office/drawing/2014/main" id="{3FD2B578-1CA5-4839-9017-7E3EC625671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527925" y="5919788"/>
            <a:ext cx="25082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ADBB20A-7610-4CCE-B70B-D9940AA51AC8}" type="datetime'A''''''''''''''''32''''''''''0'''' ''F''''''am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20 Fa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5" name="Espace réservé du texte 2">
            <a:extLst>
              <a:ext uri="{FF2B5EF4-FFF2-40B4-BE49-F238E27FC236}">
                <a16:creationId xmlns:a16="http://schemas.microsoft.com/office/drawing/2014/main" id="{9AC11AB8-6836-4499-9807-52E88DB1F8D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636000" y="5919788"/>
            <a:ext cx="250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42C06D8-7C8F-4906-B7A6-2B586835D758}" type="datetime'A''''3''''''''''''''''8''''''''''''''0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8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1" name="Espace réservé du texte 2">
            <a:extLst>
              <a:ext uri="{FF2B5EF4-FFF2-40B4-BE49-F238E27FC236}">
                <a16:creationId xmlns:a16="http://schemas.microsoft.com/office/drawing/2014/main" id="{24A04A89-1568-403D-97E2-65DAF015C36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97813" y="5919788"/>
            <a:ext cx="25082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F768BDB-0BDE-49E4-AC8D-36F36712D329}" type="datetime'''''''''A3''''''30 ''''F''''''a''''''''''''''m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30 Fa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3" name="Espace réservé du texte 2">
            <a:extLst>
              <a:ext uri="{FF2B5EF4-FFF2-40B4-BE49-F238E27FC236}">
                <a16:creationId xmlns:a16="http://schemas.microsoft.com/office/drawing/2014/main" id="{5FAD09DC-1BCC-466C-A83F-7F46577C368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66113" y="5919788"/>
            <a:ext cx="250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9D13CDA-7B25-4EC3-843A-692F22FEE75C}" type="datetime'''''''''''''''''''''''''''''''A3''''''''''''''5''''0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5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8" name="Espace réservé du texte 2">
            <a:extLst>
              <a:ext uri="{FF2B5EF4-FFF2-40B4-BE49-F238E27FC236}">
                <a16:creationId xmlns:a16="http://schemas.microsoft.com/office/drawing/2014/main" id="{D4A80F1B-4E5E-4901-A7A0-CABD12E654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716963" y="4311650"/>
            <a:ext cx="889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281B9CF-F683-4829-B9AC-FFA18FAF2525}" type="datetime'''''''''''''''''''''''''''''''''''''''''''''''1'''''''">
              <a:rPr lang="fr-FR" alt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1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258" name="Connecteur droit 257">
            <a:extLst>
              <a:ext uri="{FF2B5EF4-FFF2-40B4-BE49-F238E27FC236}">
                <a16:creationId xmlns:a16="http://schemas.microsoft.com/office/drawing/2014/main" id="{E8E7019A-5327-4CE4-BFA7-3C388DC4E25E}"/>
              </a:ext>
            </a:extLst>
          </p:cNvPr>
          <p:cNvCxnSpPr>
            <a:cxnSpLocks/>
          </p:cNvCxnSpPr>
          <p:nvPr/>
        </p:nvCxnSpPr>
        <p:spPr>
          <a:xfrm>
            <a:off x="9474200" y="4297363"/>
            <a:ext cx="0" cy="1800225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Connecteur droit 285">
            <a:extLst>
              <a:ext uri="{FF2B5EF4-FFF2-40B4-BE49-F238E27FC236}">
                <a16:creationId xmlns:a16="http://schemas.microsoft.com/office/drawing/2014/main" id="{792D639D-417A-4350-96F5-6C3B528BEBB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9928225" y="4735513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Connecteur droit 291">
            <a:extLst>
              <a:ext uri="{FF2B5EF4-FFF2-40B4-BE49-F238E27FC236}">
                <a16:creationId xmlns:a16="http://schemas.microsoft.com/office/drawing/2014/main" id="{4EB1CD05-6D2E-4B27-BE3A-C5D18551CFB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296525" y="4697413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Connecteur droit 292">
            <a:extLst>
              <a:ext uri="{FF2B5EF4-FFF2-40B4-BE49-F238E27FC236}">
                <a16:creationId xmlns:a16="http://schemas.microsoft.com/office/drawing/2014/main" id="{3BD8CEDC-D973-47B5-AC94-45DBAEF262D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666413" y="4668838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Connecteur droit 293">
            <a:extLst>
              <a:ext uri="{FF2B5EF4-FFF2-40B4-BE49-F238E27FC236}">
                <a16:creationId xmlns:a16="http://schemas.microsoft.com/office/drawing/2014/main" id="{4A4D7B39-E4E5-49A1-9AFF-D7FD943668B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1034713" y="4611688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Connecteur droit 294">
            <a:extLst>
              <a:ext uri="{FF2B5EF4-FFF2-40B4-BE49-F238E27FC236}">
                <a16:creationId xmlns:a16="http://schemas.microsoft.com/office/drawing/2014/main" id="{74B4828D-8D30-402D-8676-15BCB2E8651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1404600" y="4386263"/>
            <a:ext cx="163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2" name="Chart 3">
            <a:extLst>
              <a:ext uri="{FF2B5EF4-FFF2-40B4-BE49-F238E27FC236}">
                <a16:creationId xmlns:a16="http://schemas.microsoft.com/office/drawing/2014/main" id="{B9709A49-3269-4EC1-89CF-B2CE35E2AB75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11507820"/>
              </p:ext>
            </p:extLst>
          </p:nvPr>
        </p:nvGraphicFramePr>
        <p:xfrm>
          <a:off x="9558338" y="4202113"/>
          <a:ext cx="2379662" cy="176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4"/>
          </a:graphicData>
        </a:graphic>
      </p:graphicFrame>
      <p:sp>
        <p:nvSpPr>
          <p:cNvPr id="301" name="Espace réservé du texte 2">
            <a:extLst>
              <a:ext uri="{FF2B5EF4-FFF2-40B4-BE49-F238E27FC236}">
                <a16:creationId xmlns:a16="http://schemas.microsoft.com/office/drawing/2014/main" id="{0E222F4E-57D0-4A60-83DA-DF2D46BDC95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490200" y="4614863"/>
            <a:ext cx="1460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572B3D3-55C1-4075-B004-347B954EDBF6}" type="datetime'''1''1'''''''''''''''''''''''''''''''">
              <a:rPr lang="fr-FR" alt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11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2" name="Espace réservé du texte 2">
            <a:extLst>
              <a:ext uri="{FF2B5EF4-FFF2-40B4-BE49-F238E27FC236}">
                <a16:creationId xmlns:a16="http://schemas.microsoft.com/office/drawing/2014/main" id="{792B99E9-7506-47FC-9BA8-9F1C2F6839B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720263" y="5919788"/>
            <a:ext cx="2111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5549A1E-A160-490D-8D75-C9EEADA556D1}" type="datetime'''''''''''7''''''3''7'''''''''' ''''F''''''''''''''am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37 Fa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6" name="Espace réservé du texte 2">
            <a:extLst>
              <a:ext uri="{FF2B5EF4-FFF2-40B4-BE49-F238E27FC236}">
                <a16:creationId xmlns:a16="http://schemas.microsoft.com/office/drawing/2014/main" id="{D8C455AB-39E6-4CB4-BA75-E5C956AA5BD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209338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C81375A-640B-41AA-B0DF-85DBB68350D6}" type="datetime'''''''''''''''''''''''''7''8''7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8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3" name="Espace réservé du texte 2">
            <a:extLst>
              <a:ext uri="{FF2B5EF4-FFF2-40B4-BE49-F238E27FC236}">
                <a16:creationId xmlns:a16="http://schemas.microsoft.com/office/drawing/2014/main" id="{E8D5E44D-9F6F-4591-A128-D45FEBB91CC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120313" y="4648200"/>
            <a:ext cx="1460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87DFF26-F1C0-406B-8534-CA578CCD5EE7}" type="datetime'1''''''''''''''''''6'''''''''''''''''''''">
              <a:rPr lang="fr-FR" alt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16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37" name="Espace réservé du texte 2">
            <a:extLst>
              <a:ext uri="{FF2B5EF4-FFF2-40B4-BE49-F238E27FC236}">
                <a16:creationId xmlns:a16="http://schemas.microsoft.com/office/drawing/2014/main" id="{E17B4A14-0DC6-4748-9AB0-76BA63D4383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101263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D29A122-4AAF-4594-95F5-AB5ECEB04E21}" type="datetime'''''''7''''''''4''''''''''7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4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0" name="Espace réservé du texte 2">
            <a:extLst>
              <a:ext uri="{FF2B5EF4-FFF2-40B4-BE49-F238E27FC236}">
                <a16:creationId xmlns:a16="http://schemas.microsoft.com/office/drawing/2014/main" id="{7C573944-9D35-4E24-908D-AB871EB87F6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0471150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14260C3-ABD4-4CF2-8F9C-59671F68DF34}" type="datetime'76''''''''''''''''''''''''''''''''''''''''7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6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4" name="Espace réservé du texte 2">
            <a:extLst>
              <a:ext uri="{FF2B5EF4-FFF2-40B4-BE49-F238E27FC236}">
                <a16:creationId xmlns:a16="http://schemas.microsoft.com/office/drawing/2014/main" id="{4A8310BC-D557-409B-902F-54798E9EA84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858500" y="4572000"/>
            <a:ext cx="1460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D813363-10EF-44DF-B595-B0A740FD49F0}" type="datetime'2''''''''''3'''''''''''''''''''''''''''''''''''''''''''''">
              <a:rPr lang="fr-FR" alt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23</a:t>
            </a:fld>
            <a:endParaRPr lang="fr-FR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2" name="Espace réservé du texte 2">
            <a:extLst>
              <a:ext uri="{FF2B5EF4-FFF2-40B4-BE49-F238E27FC236}">
                <a16:creationId xmlns:a16="http://schemas.microsoft.com/office/drawing/2014/main" id="{3457CB0F-B3D8-40D5-91D2-4F9AE7D78E8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839450" y="5919788"/>
            <a:ext cx="184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F510D96-36B3-47CD-BA56-CE5E389C282C}" type="datetime'''7''''7''''''''''''''''''7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7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2" name="Espace réservé du texte 2">
            <a:extLst>
              <a:ext uri="{FF2B5EF4-FFF2-40B4-BE49-F238E27FC236}">
                <a16:creationId xmlns:a16="http://schemas.microsoft.com/office/drawing/2014/main" id="{F0D1334D-247F-479D-841F-3855BCAF0A4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541125" y="5919788"/>
            <a:ext cx="2571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451FC48-7EE8-4068-9B86-D7AB7D743A04}" type="datetime'Tot''''''''a''''''''''l'''''''">
              <a:rPr lang="fr-FR" altLang="en-US" sz="9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</a:t>
            </a:fld>
            <a:endParaRPr lang="fr-FR" sz="9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722C45A-27DD-4C98-B534-7A0593FA8238}"/>
              </a:ext>
            </a:extLst>
          </p:cNvPr>
          <p:cNvSpPr/>
          <p:nvPr/>
        </p:nvSpPr>
        <p:spPr>
          <a:xfrm>
            <a:off x="3074988" y="1300137"/>
            <a:ext cx="3743323" cy="51323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8454F27-009D-49D5-824E-8B8829526155}"/>
              </a:ext>
            </a:extLst>
          </p:cNvPr>
          <p:cNvSpPr/>
          <p:nvPr/>
        </p:nvSpPr>
        <p:spPr>
          <a:xfrm>
            <a:off x="3086227" y="1028700"/>
            <a:ext cx="3751136" cy="236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Livraisons</a:t>
            </a:r>
          </a:p>
        </p:txBody>
      </p:sp>
      <p:graphicFrame>
        <p:nvGraphicFramePr>
          <p:cNvPr id="229" name="Chart 3">
            <a:extLst>
              <a:ext uri="{FF2B5EF4-FFF2-40B4-BE49-F238E27FC236}">
                <a16:creationId xmlns:a16="http://schemas.microsoft.com/office/drawing/2014/main" id="{0D61FC2D-8E08-4ED5-B4C6-2177197C265A}"/>
              </a:ext>
            </a:extLst>
          </p:cNvPr>
          <p:cNvGraphicFramePr/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303355401"/>
              </p:ext>
            </p:extLst>
          </p:nvPr>
        </p:nvGraphicFramePr>
        <p:xfrm>
          <a:off x="3060700" y="1671638"/>
          <a:ext cx="3676650" cy="1787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5"/>
          </a:graphicData>
        </a:graphic>
      </p:graphicFrame>
      <p:sp>
        <p:nvSpPr>
          <p:cNvPr id="159" name="Espace réservé du texte 2">
            <a:extLst>
              <a:ext uri="{FF2B5EF4-FFF2-40B4-BE49-F238E27FC236}">
                <a16:creationId xmlns:a16="http://schemas.microsoft.com/office/drawing/2014/main" id="{CE50B501-0FAC-4DCC-827E-89A6E54B8A8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665538" y="3406776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15C4E48-BEC7-4588-9636-9D7910318923}" type="datetime'A''''''''''''''''''''''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7" name="Espace réservé du texte 2">
            <a:extLst>
              <a:ext uri="{FF2B5EF4-FFF2-40B4-BE49-F238E27FC236}">
                <a16:creationId xmlns:a16="http://schemas.microsoft.com/office/drawing/2014/main" id="{1EE0F536-1CDA-4CA8-B758-F9EB93AD4D7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078538" y="3406775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73F523E-0A4C-4FF4-8133-42C5B03FB6F5}" type="datetime'''''''''''''''J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5" name="Espace réservé du texte 2">
            <a:extLst>
              <a:ext uri="{FF2B5EF4-FFF2-40B4-BE49-F238E27FC236}">
                <a16:creationId xmlns:a16="http://schemas.microsoft.com/office/drawing/2014/main" id="{9118D993-A61B-4944-843B-E6C8A5D8DF1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382963" y="3406776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97E4277-5492-4FCF-BC4C-301D22C5D26E}" type="datetime'''''''''M''''''''''''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0" name="Espace réservé du texte 2">
            <a:extLst>
              <a:ext uri="{FF2B5EF4-FFF2-40B4-BE49-F238E27FC236}">
                <a16:creationId xmlns:a16="http://schemas.microsoft.com/office/drawing/2014/main" id="{467CFD82-918A-4A09-BCE1-8E484DEB93B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916363" y="3406776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B466E66-6D55-41FA-8505-2E9C66D4320B}" type="datetime'M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9" name="Espace réservé du texte 2">
            <a:extLst>
              <a:ext uri="{FF2B5EF4-FFF2-40B4-BE49-F238E27FC236}">
                <a16:creationId xmlns:a16="http://schemas.microsoft.com/office/drawing/2014/main" id="{8837CD83-9A90-4F1F-9C41-A9D386AE81A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005388" y="3406776"/>
            <a:ext cx="650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3F4A1F6-1A83-4504-AE25-DEE72F2C4ED5}" type="datetime'''''''''''''''''''''''''''''''''''''''''''''''''''S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S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1" name="Espace réservé du texte 2">
            <a:extLst>
              <a:ext uri="{FF2B5EF4-FFF2-40B4-BE49-F238E27FC236}">
                <a16:creationId xmlns:a16="http://schemas.microsoft.com/office/drawing/2014/main" id="{5A96F911-7CDA-4B45-99C2-716CDD4782A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213225" y="3406776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D055CCD-68D1-4342-87EA-C92B1E231A96}" type="datetime'''''''''''''''''J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6" name="Espace réservé du texte 2">
            <a:extLst>
              <a:ext uri="{FF2B5EF4-FFF2-40B4-BE49-F238E27FC236}">
                <a16:creationId xmlns:a16="http://schemas.microsoft.com/office/drawing/2014/main" id="{D2CF20E8-6544-4F7C-B409-8CB742031E5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479925" y="3406776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25FE5F5-0C0B-4930-84D4-4C09AD99E1D1}" type="datetime'''''''''J''''''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0" name="Espace réservé du texte 2">
            <a:extLst>
              <a:ext uri="{FF2B5EF4-FFF2-40B4-BE49-F238E27FC236}">
                <a16:creationId xmlns:a16="http://schemas.microsoft.com/office/drawing/2014/main" id="{1F37C3BB-E3C2-482F-B5B4-7024EAC582E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257800" y="3406776"/>
            <a:ext cx="889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F32EA78-8E7B-4014-8D1B-1F0D1E93B498}" type="datetime'''''''''''''O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O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7" name="Espace réservé du texte 2">
            <a:extLst>
              <a:ext uri="{FF2B5EF4-FFF2-40B4-BE49-F238E27FC236}">
                <a16:creationId xmlns:a16="http://schemas.microsoft.com/office/drawing/2014/main" id="{59E56C5E-C398-4AB8-9E25-9801882A83F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730750" y="3406776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56FD978-0E8A-4A21-8E82-0BFC7442E466}" type="datetime'''''''''''''''''''''''''''''''''''''''''''''''''''A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1" name="Espace réservé du texte 2">
            <a:extLst>
              <a:ext uri="{FF2B5EF4-FFF2-40B4-BE49-F238E27FC236}">
                <a16:creationId xmlns:a16="http://schemas.microsoft.com/office/drawing/2014/main" id="{51768A0B-0C85-4FAE-9D46-00462015D55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526088" y="3406776"/>
            <a:ext cx="85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9D4D69F-BE34-447E-9667-1D9D0F9D0098}" type="datetime'N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N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02" name="Espace réservé du texte 2">
            <a:extLst>
              <a:ext uri="{FF2B5EF4-FFF2-40B4-BE49-F238E27FC236}">
                <a16:creationId xmlns:a16="http://schemas.microsoft.com/office/drawing/2014/main" id="{8600B5CB-3682-431D-BA2E-5F4BF6D2AD9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762625" y="2160589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7ED76D4-B648-47B8-8DB0-31D89105E848}" type="datetime'''''''''''''''''''''''''''''8''9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89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2" name="Espace réservé du texte 2">
            <a:extLst>
              <a:ext uri="{FF2B5EF4-FFF2-40B4-BE49-F238E27FC236}">
                <a16:creationId xmlns:a16="http://schemas.microsoft.com/office/drawing/2014/main" id="{5CA29E31-9C27-47C4-87D8-9254DF9F739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794375" y="3406775"/>
            <a:ext cx="82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336CE8C-855C-4B23-A7BA-97CD2B4D73F0}" type="datetime'''''''''''''''''''''''''''''''D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25" name="Espace réservé du texte 2">
            <a:extLst>
              <a:ext uri="{FF2B5EF4-FFF2-40B4-BE49-F238E27FC236}">
                <a16:creationId xmlns:a16="http://schemas.microsoft.com/office/drawing/2014/main" id="{7C69B050-26D8-48A8-8232-9F11ABE056BE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294438" y="2814639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F23178E-915C-44A6-BF2D-3123231C55A8}" type="datetime'''''3''''''''''''''''''''''''''''''''''''''''2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4" name="Espace réservé du texte 2">
            <a:extLst>
              <a:ext uri="{FF2B5EF4-FFF2-40B4-BE49-F238E27FC236}">
                <a16:creationId xmlns:a16="http://schemas.microsoft.com/office/drawing/2014/main" id="{7B64E7BF-CF59-4648-94EB-7A74AD3D5C0D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335713" y="3406775"/>
            <a:ext cx="650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1516EE0-BFB5-488B-B107-BC40A1A8ECA0}" type="datetime'''''''''''F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F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9" name="Espace réservé du texte 2">
            <a:extLst>
              <a:ext uri="{FF2B5EF4-FFF2-40B4-BE49-F238E27FC236}">
                <a16:creationId xmlns:a16="http://schemas.microsoft.com/office/drawing/2014/main" id="{D12FEA10-F966-47C4-B7BA-75D9F21C8E5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578600" y="3406775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37A862B-5082-431A-86C7-2EF4E0E9471C}" type="datetime'''''M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84" name="Connecteur droit 183">
            <a:extLst>
              <a:ext uri="{FF2B5EF4-FFF2-40B4-BE49-F238E27FC236}">
                <a16:creationId xmlns:a16="http://schemas.microsoft.com/office/drawing/2014/main" id="{B2984EC8-102D-4C3A-BDEF-B477C94A825B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5094288" y="1452563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Connecteur droit 182">
            <a:extLst>
              <a:ext uri="{FF2B5EF4-FFF2-40B4-BE49-F238E27FC236}">
                <a16:creationId xmlns:a16="http://schemas.microsoft.com/office/drawing/2014/main" id="{E784DC67-8C29-4FAC-828A-8625BFD6D67A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4024313" y="1639888"/>
            <a:ext cx="336550" cy="0"/>
          </a:xfrm>
          <a:prstGeom prst="line">
            <a:avLst/>
          </a:prstGeom>
          <a:ln w="3175" cap="rnd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Connecteur droit 181">
            <a:extLst>
              <a:ext uri="{FF2B5EF4-FFF2-40B4-BE49-F238E27FC236}">
                <a16:creationId xmlns:a16="http://schemas.microsoft.com/office/drawing/2014/main" id="{89C9F05F-BAFB-490E-9311-7BB8EB226F95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4021138" y="1452563"/>
            <a:ext cx="34290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Connecteur droit 185">
            <a:extLst>
              <a:ext uri="{FF2B5EF4-FFF2-40B4-BE49-F238E27FC236}">
                <a16:creationId xmlns:a16="http://schemas.microsoft.com/office/drawing/2014/main" id="{00557F1D-AD54-4D7A-94BA-920B1991150A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>
            <a:off x="5097463" y="1639888"/>
            <a:ext cx="336550" cy="0"/>
          </a:xfrm>
          <a:prstGeom prst="line">
            <a:avLst/>
          </a:prstGeom>
          <a:ln w="3175" cap="rnd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Espace réservé du texte 2">
            <a:extLst>
              <a:ext uri="{FF2B5EF4-FFF2-40B4-BE49-F238E27FC236}">
                <a16:creationId xmlns:a16="http://schemas.microsoft.com/office/drawing/2014/main" id="{F5A2143A-6566-4A28-962A-36C5BC69439B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424363" y="1389064"/>
            <a:ext cx="558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3304343D-11BF-453B-8D21-1D9D6CB01C36}" type="datetime'T''otal ''''''''Ai''''''''''''r''b''''''''us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 Airbus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2" name="Espace réservé du texte 2">
            <a:extLst>
              <a:ext uri="{FF2B5EF4-FFF2-40B4-BE49-F238E27FC236}">
                <a16:creationId xmlns:a16="http://schemas.microsoft.com/office/drawing/2014/main" id="{9F264F68-D439-43F3-A08D-DC68A263720D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424363" y="1576389"/>
            <a:ext cx="48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2E567860-90C8-40E9-A0AA-A38853B0971B}" type="datetime'''d''o''''''''''''''''''''''n''t ''''A''32''''0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A32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1" name="Espace réservé du texte 2">
            <a:extLst>
              <a:ext uri="{FF2B5EF4-FFF2-40B4-BE49-F238E27FC236}">
                <a16:creationId xmlns:a16="http://schemas.microsoft.com/office/drawing/2014/main" id="{ACEBC4E5-6B0C-4744-BF37-FAFC6AC237B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5497513" y="1389063"/>
            <a:ext cx="48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39CBA89-4B47-4C5E-A30D-6B5AC68E8AF4}" type="datetime'''''''''''d''''''''''''o''''nt'' ''''''A''''''3''''''''3''0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A33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9" name="Espace réservé du texte 2">
            <a:extLst>
              <a:ext uri="{FF2B5EF4-FFF2-40B4-BE49-F238E27FC236}">
                <a16:creationId xmlns:a16="http://schemas.microsoft.com/office/drawing/2014/main" id="{B01DB2A9-A92F-4586-831D-33B5896BCA5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497513" y="1576388"/>
            <a:ext cx="48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568E8AD-E0EC-4AC4-9C6C-92B238E94D20}" type="datetime'd''''''''o''''''''nt'' A''''3''''''50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A350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243" name="Chart 3">
            <a:extLst>
              <a:ext uri="{FF2B5EF4-FFF2-40B4-BE49-F238E27FC236}">
                <a16:creationId xmlns:a16="http://schemas.microsoft.com/office/drawing/2014/main" id="{B080167C-2CAF-4B07-AEF8-C2C7B9EA3AA8}"/>
              </a:ext>
            </a:extLst>
          </p:cNvPr>
          <p:cNvGraphicFramePr/>
          <p:nvPr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3519397798"/>
              </p:ext>
            </p:extLst>
          </p:nvPr>
        </p:nvGraphicFramePr>
        <p:xfrm>
          <a:off x="3117850" y="4022725"/>
          <a:ext cx="3619500" cy="1939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6"/>
          </a:graphicData>
        </a:graphic>
      </p:graphicFrame>
      <p:sp>
        <p:nvSpPr>
          <p:cNvPr id="205" name="Espace réservé du texte 2">
            <a:extLst>
              <a:ext uri="{FF2B5EF4-FFF2-40B4-BE49-F238E27FC236}">
                <a16:creationId xmlns:a16="http://schemas.microsoft.com/office/drawing/2014/main" id="{B2EA4C5B-B934-48AD-89B0-865EFBCF333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213225" y="5910264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AEEC5C4-DAE5-475B-8C35-C70A8641B3E3}" type="datetime'''''''''''''''''J''''''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7" name="Espace réservé du texte 2">
            <a:extLst>
              <a:ext uri="{FF2B5EF4-FFF2-40B4-BE49-F238E27FC236}">
                <a16:creationId xmlns:a16="http://schemas.microsoft.com/office/drawing/2014/main" id="{913C834D-F168-40F4-BA8C-58E1D71EE07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382963" y="5910264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0EB1860-EB24-43B2-980C-CB707EA3274E}" type="datetime'''''''''''''''''''''''''''''''''''''''''''''''M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3" name="Espace réservé du texte 2">
            <a:extLst>
              <a:ext uri="{FF2B5EF4-FFF2-40B4-BE49-F238E27FC236}">
                <a16:creationId xmlns:a16="http://schemas.microsoft.com/office/drawing/2014/main" id="{87874764-A1EE-46ED-B54D-4356361929F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3665538" y="5910264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57220F1-2E32-4F6B-A566-B3009C19C7A2}" type="datetime'''''''''''''''''''''''''''''''''A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4" name="Espace réservé du texte 2">
            <a:extLst>
              <a:ext uri="{FF2B5EF4-FFF2-40B4-BE49-F238E27FC236}">
                <a16:creationId xmlns:a16="http://schemas.microsoft.com/office/drawing/2014/main" id="{C5E64366-05A7-4DBC-A222-F27CF6D83D4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916363" y="5910264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BFD3410-7E41-4D41-B354-28A31470CA6D}" type="datetime'''''''''''''''''''''''''''''''''''''''''M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9" name="Espace réservé du texte 2">
            <a:extLst>
              <a:ext uri="{FF2B5EF4-FFF2-40B4-BE49-F238E27FC236}">
                <a16:creationId xmlns:a16="http://schemas.microsoft.com/office/drawing/2014/main" id="{A8B28EDB-6ED8-4579-8290-518176A683A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5005388" y="5910264"/>
            <a:ext cx="650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F984C1E-ACAB-46F9-8B75-235E3FAA5658}" type="datetime'''S''''''''''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S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8" name="Espace réservé du texte 2">
            <a:extLst>
              <a:ext uri="{FF2B5EF4-FFF2-40B4-BE49-F238E27FC236}">
                <a16:creationId xmlns:a16="http://schemas.microsoft.com/office/drawing/2014/main" id="{5B994944-A03C-4359-A908-BF6DED65B008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4730750" y="5910264"/>
            <a:ext cx="79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39B1940-6FDC-49FB-86AC-83642E6054E5}" type="datetime'''''''''A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7" name="Espace réservé du texte 2">
            <a:extLst>
              <a:ext uri="{FF2B5EF4-FFF2-40B4-BE49-F238E27FC236}">
                <a16:creationId xmlns:a16="http://schemas.microsoft.com/office/drawing/2014/main" id="{A2CDCF67-B711-4268-8E61-45FC8FF89FAC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4479925" y="5910264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94B11AC-0E6C-4EEB-8D92-1382783383B7}" type="datetime'''''''''''''''''''''''''''J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0" name="Espace réservé du texte 2">
            <a:extLst>
              <a:ext uri="{FF2B5EF4-FFF2-40B4-BE49-F238E27FC236}">
                <a16:creationId xmlns:a16="http://schemas.microsoft.com/office/drawing/2014/main" id="{DAB6CB2B-E08A-4815-86A0-F45034590DC7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5257800" y="5910264"/>
            <a:ext cx="889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A02DA0A-2A15-4D74-BEA4-C6376AC49475}" type="datetime'''''''''''''''''''''''''''''''''''O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O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228" name="Espace réservé du texte 2">
            <a:extLst>
              <a:ext uri="{FF2B5EF4-FFF2-40B4-BE49-F238E27FC236}">
                <a16:creationId xmlns:a16="http://schemas.microsoft.com/office/drawing/2014/main" id="{ECF43E62-00E7-41A2-8B16-9C26E45965C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5524500" y="5535613"/>
            <a:ext cx="8890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6CB415F-2BDD-40CF-A97A-A109842268F1}" type="datetime'''''''7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94" name="Espace réservé du texte 2">
            <a:extLst>
              <a:ext uri="{FF2B5EF4-FFF2-40B4-BE49-F238E27FC236}">
                <a16:creationId xmlns:a16="http://schemas.microsoft.com/office/drawing/2014/main" id="{7D32F042-B726-4DD3-ACBE-B3D701BDD588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6294438" y="5216525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8AD28D7-9A13-440A-B1E1-09711A0EFCA3}" type="datetime'''''22''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22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8" name="Espace réservé du texte 2">
            <a:extLst>
              <a:ext uri="{FF2B5EF4-FFF2-40B4-BE49-F238E27FC236}">
                <a16:creationId xmlns:a16="http://schemas.microsoft.com/office/drawing/2014/main" id="{2CCDC18F-0248-43B2-92DE-CE2D93D2CAED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5526088" y="5910264"/>
            <a:ext cx="85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88DEF17-6DBE-4CA0-8149-9F668065CCE4}" type="datetime'''''''''''''''''''''''''''''''''''''''''''''''''''''''N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N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95" name="Espace réservé du texte 2">
            <a:extLst>
              <a:ext uri="{FF2B5EF4-FFF2-40B4-BE49-F238E27FC236}">
                <a16:creationId xmlns:a16="http://schemas.microsoft.com/office/drawing/2014/main" id="{1381448B-C574-458B-AADA-5A9F20880E2A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762625" y="4854575"/>
            <a:ext cx="146050" cy="136525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7F0224C-5132-464B-8A07-B86BAEA7BAAE}" type="datetime'''''''''3''''9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7" name="Espace réservé du texte 2">
            <a:extLst>
              <a:ext uri="{FF2B5EF4-FFF2-40B4-BE49-F238E27FC236}">
                <a16:creationId xmlns:a16="http://schemas.microsoft.com/office/drawing/2014/main" id="{FB7A7D5C-429B-42F4-B257-D107BFE0E02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5794375" y="5910263"/>
            <a:ext cx="82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E110A8D-3A6F-423C-9735-7B03EC183FB3}" type="datetime'''''''''''''''''''''''''D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4" name="Espace réservé du texte 2">
            <a:extLst>
              <a:ext uri="{FF2B5EF4-FFF2-40B4-BE49-F238E27FC236}">
                <a16:creationId xmlns:a16="http://schemas.microsoft.com/office/drawing/2014/main" id="{030F21D3-A9A5-47DD-8F6A-1F8E23FCB6A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6078538" y="5910263"/>
            <a:ext cx="49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F8367A0-29B2-420D-8275-567B36F34DFF}" type="datetime'''''''''J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J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5" name="Espace réservé du texte 2">
            <a:extLst>
              <a:ext uri="{FF2B5EF4-FFF2-40B4-BE49-F238E27FC236}">
                <a16:creationId xmlns:a16="http://schemas.microsoft.com/office/drawing/2014/main" id="{72493A5C-7BE1-449E-A5BA-C58C77C4D6A1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6335713" y="5910263"/>
            <a:ext cx="650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BA581B7-20FA-4BF3-B495-86D754DCA965}" type="datetime'''''''''''''''''''''''''''F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F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0" name="Espace réservé du texte 2">
            <a:extLst>
              <a:ext uri="{FF2B5EF4-FFF2-40B4-BE49-F238E27FC236}">
                <a16:creationId xmlns:a16="http://schemas.microsoft.com/office/drawing/2014/main" id="{CF8826F4-867C-4AD5-9C44-1ADE6129DDD9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6578600" y="5910263"/>
            <a:ext cx="111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40B6780-10E9-4227-9DB6-BD1D28A30A1A}" type="datetime'''''M''''''''''''''''''''''''''''''''''''''''''''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M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212" name="Connecteur droit 211">
            <a:extLst>
              <a:ext uri="{FF2B5EF4-FFF2-40B4-BE49-F238E27FC236}">
                <a16:creationId xmlns:a16="http://schemas.microsoft.com/office/drawing/2014/main" id="{9AD761A7-3D08-4463-87C3-F74399D86F07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3975100" y="4019550"/>
            <a:ext cx="34290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Connecteur droit 216">
            <a:extLst>
              <a:ext uri="{FF2B5EF4-FFF2-40B4-BE49-F238E27FC236}">
                <a16:creationId xmlns:a16="http://schemas.microsoft.com/office/drawing/2014/main" id="{40A83792-5BE9-4BF4-83BA-5A859B894BF2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5070475" y="4019550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Connecteur droit 215">
            <a:extLst>
              <a:ext uri="{FF2B5EF4-FFF2-40B4-BE49-F238E27FC236}">
                <a16:creationId xmlns:a16="http://schemas.microsoft.com/office/drawing/2014/main" id="{0803B770-41E7-4D20-B8A6-B12B4C84190F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3978275" y="4206875"/>
            <a:ext cx="336550" cy="0"/>
          </a:xfrm>
          <a:prstGeom prst="line">
            <a:avLst/>
          </a:prstGeom>
          <a:ln w="3175" cap="rnd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Connecteur droit 217">
            <a:extLst>
              <a:ext uri="{FF2B5EF4-FFF2-40B4-BE49-F238E27FC236}">
                <a16:creationId xmlns:a16="http://schemas.microsoft.com/office/drawing/2014/main" id="{B174256C-A32F-4B5E-8EC6-3AB038DF77DA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5073650" y="4206875"/>
            <a:ext cx="336550" cy="0"/>
          </a:xfrm>
          <a:prstGeom prst="line">
            <a:avLst/>
          </a:prstGeom>
          <a:ln w="3175" cap="rnd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Espace réservé du texte 2">
            <a:extLst>
              <a:ext uri="{FF2B5EF4-FFF2-40B4-BE49-F238E27FC236}">
                <a16:creationId xmlns:a16="http://schemas.microsoft.com/office/drawing/2014/main" id="{1237313B-74C6-4A9C-BE55-54FA251AAA46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4378325" y="3956050"/>
            <a:ext cx="581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0AB56A53-E57F-4300-AA50-9916C1CA6EB5}" type="datetime'''Tot''''''a''l'' B''o''''''e''''''in''g''''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Total Boeing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0" name="Espace réservé du texte 2">
            <a:extLst>
              <a:ext uri="{FF2B5EF4-FFF2-40B4-BE49-F238E27FC236}">
                <a16:creationId xmlns:a16="http://schemas.microsoft.com/office/drawing/2014/main" id="{D9357BDD-CA71-4441-881F-B5695BCE28FB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4378325" y="4143375"/>
            <a:ext cx="415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75EE1A5F-EC66-495A-881D-7071FAC82F92}" type="datetime'''''d''''''''''''''''''''o''''''''''''''nt'' 7''''3''''7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73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2" name="Espace réservé du texte 2">
            <a:extLst>
              <a:ext uri="{FF2B5EF4-FFF2-40B4-BE49-F238E27FC236}">
                <a16:creationId xmlns:a16="http://schemas.microsoft.com/office/drawing/2014/main" id="{CFF557F7-830D-4248-9720-030560BFA261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5473700" y="3956050"/>
            <a:ext cx="415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53D33910-9364-4484-9AD3-D6440108B366}" type="datetime'''''''''''''''''d''''on''''t ''''''''7''''7''''''''''7''''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77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1" name="Espace réservé du texte 2">
            <a:extLst>
              <a:ext uri="{FF2B5EF4-FFF2-40B4-BE49-F238E27FC236}">
                <a16:creationId xmlns:a16="http://schemas.microsoft.com/office/drawing/2014/main" id="{124915EF-63E7-40CB-B698-47D47CF3DCCE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5473700" y="4143375"/>
            <a:ext cx="415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9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83B57022-A7E4-4B91-89A7-EB400BD179F2}" type="datetime'''''d''''''o''''''''nt'''' ''''''''''''7''8''''''''''7'">
              <a:rPr lang="fr-FR" altLang="en-US" sz="9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dont 787</a:t>
            </a:fld>
            <a:endParaRPr lang="fr-FR" sz="9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224" name="Groupe 223">
            <a:extLst>
              <a:ext uri="{FF2B5EF4-FFF2-40B4-BE49-F238E27FC236}">
                <a16:creationId xmlns:a16="http://schemas.microsoft.com/office/drawing/2014/main" id="{E0E45818-B40E-4631-B714-2C9F181FC426}"/>
              </a:ext>
            </a:extLst>
          </p:cNvPr>
          <p:cNvGrpSpPr/>
          <p:nvPr/>
        </p:nvGrpSpPr>
        <p:grpSpPr>
          <a:xfrm>
            <a:off x="3363362" y="3587751"/>
            <a:ext cx="2556000" cy="231775"/>
            <a:chOff x="666509" y="3568700"/>
            <a:chExt cx="2556480" cy="231775"/>
          </a:xfrm>
        </p:grpSpPr>
        <p:sp>
          <p:nvSpPr>
            <p:cNvPr id="233" name="ZoneTexte 232">
              <a:extLst>
                <a:ext uri="{FF2B5EF4-FFF2-40B4-BE49-F238E27FC236}">
                  <a16:creationId xmlns:a16="http://schemas.microsoft.com/office/drawing/2014/main" id="{724B377D-C72C-41E1-87C6-B1331121494C}"/>
                </a:ext>
              </a:extLst>
            </p:cNvPr>
            <p:cNvSpPr txBox="1"/>
            <p:nvPr/>
          </p:nvSpPr>
          <p:spPr>
            <a:xfrm>
              <a:off x="1999761" y="3568700"/>
              <a:ext cx="777698" cy="23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0</a:t>
              </a:r>
            </a:p>
          </p:txBody>
        </p:sp>
        <p:cxnSp>
          <p:nvCxnSpPr>
            <p:cNvPr id="234" name="Connecteur droit 233">
              <a:extLst>
                <a:ext uri="{FF2B5EF4-FFF2-40B4-BE49-F238E27FC236}">
                  <a16:creationId xmlns:a16="http://schemas.microsoft.com/office/drawing/2014/main" id="{FC4E85DB-0484-4A71-87F1-67F87994B7D1}"/>
                </a:ext>
              </a:extLst>
            </p:cNvPr>
            <p:cNvCxnSpPr/>
            <p:nvPr/>
          </p:nvCxnSpPr>
          <p:spPr>
            <a:xfrm>
              <a:off x="666509" y="3579099"/>
              <a:ext cx="255648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6" name="Image 225">
            <a:extLst>
              <a:ext uri="{FF2B5EF4-FFF2-40B4-BE49-F238E27FC236}">
                <a16:creationId xmlns:a16="http://schemas.microsoft.com/office/drawing/2014/main" id="{E5904904-D88F-4CF1-9C77-B7E09E7CCC4B}"/>
              </a:ext>
            </a:extLst>
          </p:cNvPr>
          <p:cNvPicPr>
            <a:picLocks/>
          </p:cNvPicPr>
          <p:nvPr/>
        </p:nvPicPr>
        <p:blipFill rotWithShape="1">
          <a:blip r:embed="rId90"/>
          <a:srcRect t="63342"/>
          <a:stretch/>
        </p:blipFill>
        <p:spPr>
          <a:xfrm>
            <a:off x="3281361" y="3851578"/>
            <a:ext cx="684084" cy="166688"/>
          </a:xfrm>
          <a:prstGeom prst="rect">
            <a:avLst/>
          </a:prstGeom>
        </p:spPr>
      </p:pic>
      <p:pic>
        <p:nvPicPr>
          <p:cNvPr id="235" name="Image 234">
            <a:extLst>
              <a:ext uri="{FF2B5EF4-FFF2-40B4-BE49-F238E27FC236}">
                <a16:creationId xmlns:a16="http://schemas.microsoft.com/office/drawing/2014/main" id="{220EB096-C32C-4AF7-B8C4-9BEADBE025D0}"/>
              </a:ext>
            </a:extLst>
          </p:cNvPr>
          <p:cNvPicPr>
            <a:picLocks/>
          </p:cNvPicPr>
          <p:nvPr/>
        </p:nvPicPr>
        <p:blipFill>
          <a:blip r:embed="rId89"/>
          <a:stretch>
            <a:fillRect/>
          </a:stretch>
        </p:blipFill>
        <p:spPr>
          <a:xfrm>
            <a:off x="3176588" y="1239838"/>
            <a:ext cx="684213" cy="455613"/>
          </a:xfrm>
          <a:prstGeom prst="rect">
            <a:avLst/>
          </a:prstGeom>
        </p:spPr>
      </p:pic>
      <p:sp>
        <p:nvSpPr>
          <p:cNvPr id="260" name="Rectangle 259">
            <a:extLst>
              <a:ext uri="{FF2B5EF4-FFF2-40B4-BE49-F238E27FC236}">
                <a16:creationId xmlns:a16="http://schemas.microsoft.com/office/drawing/2014/main" id="{EC730ABB-01FC-4F7B-BC43-D750336F74D7}"/>
              </a:ext>
            </a:extLst>
          </p:cNvPr>
          <p:cNvSpPr/>
          <p:nvPr/>
        </p:nvSpPr>
        <p:spPr>
          <a:xfrm>
            <a:off x="6895431" y="3724391"/>
            <a:ext cx="5125119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io</a:t>
            </a:r>
            <a:r>
              <a:rPr lang="fr-FR" sz="1400" b="1" kern="0" dirty="0">
                <a:solidFill>
                  <a:schemeClr val="bg1"/>
                </a:solidFill>
                <a:latin typeface="Calibri"/>
              </a:rPr>
              <a:t>ns produits &amp;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on-livrés YTD</a:t>
            </a:r>
          </a:p>
        </p:txBody>
      </p:sp>
      <p:sp>
        <p:nvSpPr>
          <p:cNvPr id="261" name="TextBox 26">
            <a:extLst>
              <a:ext uri="{FF2B5EF4-FFF2-40B4-BE49-F238E27FC236}">
                <a16:creationId xmlns:a16="http://schemas.microsoft.com/office/drawing/2014/main" id="{A10A4420-66C8-42DE-82D1-BEFFB2419C97}"/>
              </a:ext>
            </a:extLst>
          </p:cNvPr>
          <p:cNvSpPr txBox="1"/>
          <p:nvPr/>
        </p:nvSpPr>
        <p:spPr>
          <a:xfrm>
            <a:off x="1225550" y="4241106"/>
            <a:ext cx="1163638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 998</a:t>
            </a:r>
          </a:p>
        </p:txBody>
      </p:sp>
      <p:sp>
        <p:nvSpPr>
          <p:cNvPr id="262" name="TextBox 26">
            <a:extLst>
              <a:ext uri="{FF2B5EF4-FFF2-40B4-BE49-F238E27FC236}">
                <a16:creationId xmlns:a16="http://schemas.microsoft.com/office/drawing/2014/main" id="{37A8C09C-710F-48E5-AF07-424C5D583BDF}"/>
              </a:ext>
            </a:extLst>
          </p:cNvPr>
          <p:cNvSpPr txBox="1"/>
          <p:nvPr/>
        </p:nvSpPr>
        <p:spPr>
          <a:xfrm>
            <a:off x="1981200" y="4350644"/>
            <a:ext cx="1163638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186</a:t>
            </a:r>
          </a:p>
        </p:txBody>
      </p:sp>
      <p:sp>
        <p:nvSpPr>
          <p:cNvPr id="263" name="TextBox 26">
            <a:extLst>
              <a:ext uri="{FF2B5EF4-FFF2-40B4-BE49-F238E27FC236}">
                <a16:creationId xmlns:a16="http://schemas.microsoft.com/office/drawing/2014/main" id="{54604176-CFA7-41D5-BE94-A3AE78B7F4C2}"/>
              </a:ext>
            </a:extLst>
          </p:cNvPr>
          <p:cNvSpPr txBox="1"/>
          <p:nvPr/>
        </p:nvSpPr>
        <p:spPr>
          <a:xfrm>
            <a:off x="1195387" y="5358706"/>
            <a:ext cx="1163638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 989</a:t>
            </a:r>
          </a:p>
        </p:txBody>
      </p:sp>
      <p:sp>
        <p:nvSpPr>
          <p:cNvPr id="264" name="TextBox 26">
            <a:extLst>
              <a:ext uri="{FF2B5EF4-FFF2-40B4-BE49-F238E27FC236}">
                <a16:creationId xmlns:a16="http://schemas.microsoft.com/office/drawing/2014/main" id="{E165D15C-4633-4830-B94D-6C1F5067BE22}"/>
              </a:ext>
            </a:extLst>
          </p:cNvPr>
          <p:cNvSpPr txBox="1"/>
          <p:nvPr/>
        </p:nvSpPr>
        <p:spPr>
          <a:xfrm>
            <a:off x="1951037" y="5468244"/>
            <a:ext cx="1163638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8</a:t>
            </a:r>
          </a:p>
        </p:txBody>
      </p:sp>
      <p:pic>
        <p:nvPicPr>
          <p:cNvPr id="265" name="Image 264">
            <a:extLst>
              <a:ext uri="{FF2B5EF4-FFF2-40B4-BE49-F238E27FC236}">
                <a16:creationId xmlns:a16="http://schemas.microsoft.com/office/drawing/2014/main" id="{5B0D0375-7556-4333-AD89-10E3CDB44481}"/>
              </a:ext>
            </a:extLst>
          </p:cNvPr>
          <p:cNvPicPr>
            <a:picLocks noChangeAspect="1"/>
          </p:cNvPicPr>
          <p:nvPr/>
        </p:nvPicPr>
        <p:blipFill>
          <a:blip r:embed="rId90"/>
          <a:stretch>
            <a:fillRect/>
          </a:stretch>
        </p:blipFill>
        <p:spPr>
          <a:xfrm>
            <a:off x="293687" y="5282505"/>
            <a:ext cx="1069975" cy="504874"/>
          </a:xfrm>
          <a:prstGeom prst="rect">
            <a:avLst/>
          </a:prstGeom>
        </p:spPr>
      </p:pic>
      <p:pic>
        <p:nvPicPr>
          <p:cNvPr id="266" name="Image 265">
            <a:extLst>
              <a:ext uri="{FF2B5EF4-FFF2-40B4-BE49-F238E27FC236}">
                <a16:creationId xmlns:a16="http://schemas.microsoft.com/office/drawing/2014/main" id="{D9C302AC-93BF-45BC-ABEA-BA155C880603}"/>
              </a:ext>
            </a:extLst>
          </p:cNvPr>
          <p:cNvPicPr>
            <a:picLocks noChangeAspect="1"/>
          </p:cNvPicPr>
          <p:nvPr/>
        </p:nvPicPr>
        <p:blipFill>
          <a:blip r:embed="rId89"/>
          <a:stretch>
            <a:fillRect/>
          </a:stretch>
        </p:blipFill>
        <p:spPr>
          <a:xfrm>
            <a:off x="236537" y="4203007"/>
            <a:ext cx="1060450" cy="706277"/>
          </a:xfrm>
          <a:prstGeom prst="rect">
            <a:avLst/>
          </a:prstGeom>
        </p:spPr>
      </p:pic>
      <p:sp>
        <p:nvSpPr>
          <p:cNvPr id="268" name="ZoneTexte 267">
            <a:extLst>
              <a:ext uri="{FF2B5EF4-FFF2-40B4-BE49-F238E27FC236}">
                <a16:creationId xmlns:a16="http://schemas.microsoft.com/office/drawing/2014/main" id="{6A2D1725-9C14-496A-BCDA-9B2E63233BDD}"/>
              </a:ext>
            </a:extLst>
          </p:cNvPr>
          <p:cNvSpPr txBox="1"/>
          <p:nvPr/>
        </p:nvSpPr>
        <p:spPr>
          <a:xfrm>
            <a:off x="2011578" y="6212143"/>
            <a:ext cx="10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187" name="ZoneTexte 186">
            <a:extLst>
              <a:ext uri="{FF2B5EF4-FFF2-40B4-BE49-F238E27FC236}">
                <a16:creationId xmlns:a16="http://schemas.microsoft.com/office/drawing/2014/main" id="{2BBCB42D-7904-4000-802F-1AF38302679F}"/>
              </a:ext>
            </a:extLst>
          </p:cNvPr>
          <p:cNvSpPr txBox="1"/>
          <p:nvPr/>
        </p:nvSpPr>
        <p:spPr>
          <a:xfrm>
            <a:off x="5791049" y="6247859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123C9CD-0DB3-4CF8-A58B-E9B01F7752F7}"/>
              </a:ext>
            </a:extLst>
          </p:cNvPr>
          <p:cNvSpPr txBox="1"/>
          <p:nvPr/>
        </p:nvSpPr>
        <p:spPr>
          <a:xfrm>
            <a:off x="7802715" y="1457161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ulations</a:t>
            </a:r>
          </a:p>
        </p:txBody>
      </p:sp>
      <p:sp>
        <p:nvSpPr>
          <p:cNvPr id="276" name="ZoneTexte 275">
            <a:extLst>
              <a:ext uri="{FF2B5EF4-FFF2-40B4-BE49-F238E27FC236}">
                <a16:creationId xmlns:a16="http://schemas.microsoft.com/office/drawing/2014/main" id="{F0E35A8C-6FA8-4F3C-8269-002FD9ACF97E}"/>
              </a:ext>
            </a:extLst>
          </p:cNvPr>
          <p:cNvSpPr txBox="1"/>
          <p:nvPr/>
        </p:nvSpPr>
        <p:spPr>
          <a:xfrm>
            <a:off x="8679092" y="1457161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andes</a:t>
            </a:r>
          </a:p>
        </p:txBody>
      </p:sp>
      <p:sp>
        <p:nvSpPr>
          <p:cNvPr id="277" name="ZoneTexte 276">
            <a:extLst>
              <a:ext uri="{FF2B5EF4-FFF2-40B4-BE49-F238E27FC236}">
                <a16:creationId xmlns:a16="http://schemas.microsoft.com/office/drawing/2014/main" id="{5FC510A5-37A9-4F76-974D-7679B28FABBD}"/>
              </a:ext>
            </a:extLst>
          </p:cNvPr>
          <p:cNvSpPr txBox="1"/>
          <p:nvPr/>
        </p:nvSpPr>
        <p:spPr>
          <a:xfrm>
            <a:off x="10157369" y="1454395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ulations</a:t>
            </a:r>
          </a:p>
        </p:txBody>
      </p:sp>
      <p:sp>
        <p:nvSpPr>
          <p:cNvPr id="278" name="ZoneTexte 277">
            <a:extLst>
              <a:ext uri="{FF2B5EF4-FFF2-40B4-BE49-F238E27FC236}">
                <a16:creationId xmlns:a16="http://schemas.microsoft.com/office/drawing/2014/main" id="{EC78708A-7225-4B28-BF64-1C278245839A}"/>
              </a:ext>
            </a:extLst>
          </p:cNvPr>
          <p:cNvSpPr txBox="1"/>
          <p:nvPr/>
        </p:nvSpPr>
        <p:spPr>
          <a:xfrm>
            <a:off x="10958307" y="1449776"/>
            <a:ext cx="782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andes</a:t>
            </a:r>
          </a:p>
        </p:txBody>
      </p:sp>
      <p:pic>
        <p:nvPicPr>
          <p:cNvPr id="330" name="Image 329">
            <a:extLst>
              <a:ext uri="{FF2B5EF4-FFF2-40B4-BE49-F238E27FC236}">
                <a16:creationId xmlns:a16="http://schemas.microsoft.com/office/drawing/2014/main" id="{7291A2C6-1F44-433E-8D67-8E5FDED700D8}"/>
              </a:ext>
            </a:extLst>
          </p:cNvPr>
          <p:cNvPicPr>
            <a:picLocks/>
          </p:cNvPicPr>
          <p:nvPr/>
        </p:nvPicPr>
        <p:blipFill>
          <a:blip r:embed="rId89"/>
          <a:stretch>
            <a:fillRect/>
          </a:stretch>
        </p:blipFill>
        <p:spPr>
          <a:xfrm>
            <a:off x="8139111" y="6020593"/>
            <a:ext cx="684213" cy="455613"/>
          </a:xfrm>
          <a:prstGeom prst="rect">
            <a:avLst/>
          </a:prstGeom>
        </p:spPr>
      </p:pic>
      <p:pic>
        <p:nvPicPr>
          <p:cNvPr id="331" name="Image 330">
            <a:extLst>
              <a:ext uri="{FF2B5EF4-FFF2-40B4-BE49-F238E27FC236}">
                <a16:creationId xmlns:a16="http://schemas.microsoft.com/office/drawing/2014/main" id="{07776989-3012-448A-B792-6035EC30C0C7}"/>
              </a:ext>
            </a:extLst>
          </p:cNvPr>
          <p:cNvPicPr>
            <a:picLocks/>
          </p:cNvPicPr>
          <p:nvPr/>
        </p:nvPicPr>
        <p:blipFill rotWithShape="1">
          <a:blip r:embed="rId90"/>
          <a:srcRect t="63342"/>
          <a:stretch/>
        </p:blipFill>
        <p:spPr>
          <a:xfrm>
            <a:off x="10514013" y="6188049"/>
            <a:ext cx="684213" cy="16668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0F248677-2B3B-4D33-8092-A63747D709D5}"/>
              </a:ext>
            </a:extLst>
          </p:cNvPr>
          <p:cNvSpPr txBox="1"/>
          <p:nvPr/>
        </p:nvSpPr>
        <p:spPr>
          <a:xfrm>
            <a:off x="7096524" y="5538788"/>
            <a:ext cx="3683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55" name="ZoneTexte 354">
            <a:extLst>
              <a:ext uri="{FF2B5EF4-FFF2-40B4-BE49-F238E27FC236}">
                <a16:creationId xmlns:a16="http://schemas.microsoft.com/office/drawing/2014/main" id="{C1E61069-C8CA-4019-A975-62D182A8B9CC}"/>
              </a:ext>
            </a:extLst>
          </p:cNvPr>
          <p:cNvSpPr txBox="1"/>
          <p:nvPr/>
        </p:nvSpPr>
        <p:spPr>
          <a:xfrm>
            <a:off x="7830345" y="4422775"/>
            <a:ext cx="3683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2)</a:t>
            </a:r>
          </a:p>
        </p:txBody>
      </p:sp>
      <p:sp>
        <p:nvSpPr>
          <p:cNvPr id="357" name="ZoneTexte 356">
            <a:extLst>
              <a:ext uri="{FF2B5EF4-FFF2-40B4-BE49-F238E27FC236}">
                <a16:creationId xmlns:a16="http://schemas.microsoft.com/office/drawing/2014/main" id="{4250E03D-4363-4E0A-85E5-48B3FEE56E02}"/>
              </a:ext>
            </a:extLst>
          </p:cNvPr>
          <p:cNvSpPr txBox="1"/>
          <p:nvPr/>
        </p:nvSpPr>
        <p:spPr>
          <a:xfrm>
            <a:off x="8190709" y="4200525"/>
            <a:ext cx="3683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-4)</a:t>
            </a:r>
          </a:p>
        </p:txBody>
      </p:sp>
      <p:sp>
        <p:nvSpPr>
          <p:cNvPr id="358" name="ZoneTexte 357">
            <a:extLst>
              <a:ext uri="{FF2B5EF4-FFF2-40B4-BE49-F238E27FC236}">
                <a16:creationId xmlns:a16="http://schemas.microsoft.com/office/drawing/2014/main" id="{9C34914F-1284-4D25-9932-A77D91B995E9}"/>
              </a:ext>
            </a:extLst>
          </p:cNvPr>
          <p:cNvSpPr txBox="1"/>
          <p:nvPr/>
        </p:nvSpPr>
        <p:spPr>
          <a:xfrm>
            <a:off x="7430297" y="4616449"/>
            <a:ext cx="4337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-20)</a:t>
            </a:r>
          </a:p>
        </p:txBody>
      </p:sp>
      <p:sp>
        <p:nvSpPr>
          <p:cNvPr id="359" name="ZoneTexte 358">
            <a:extLst>
              <a:ext uri="{FF2B5EF4-FFF2-40B4-BE49-F238E27FC236}">
                <a16:creationId xmlns:a16="http://schemas.microsoft.com/office/drawing/2014/main" id="{B17A55F9-3C90-4D02-B1A7-69898512B1A2}"/>
              </a:ext>
            </a:extLst>
          </p:cNvPr>
          <p:cNvSpPr txBox="1"/>
          <p:nvPr/>
        </p:nvSpPr>
        <p:spPr>
          <a:xfrm>
            <a:off x="8560598" y="4122738"/>
            <a:ext cx="368300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0" name="ZoneTexte 359">
            <a:extLst>
              <a:ext uri="{FF2B5EF4-FFF2-40B4-BE49-F238E27FC236}">
                <a16:creationId xmlns:a16="http://schemas.microsoft.com/office/drawing/2014/main" id="{19196A2D-C978-4BD8-9E36-35CF1698960A}"/>
              </a:ext>
            </a:extLst>
          </p:cNvPr>
          <p:cNvSpPr txBox="1"/>
          <p:nvPr/>
        </p:nvSpPr>
        <p:spPr>
          <a:xfrm>
            <a:off x="9605966" y="4389438"/>
            <a:ext cx="437892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-6)</a:t>
            </a:r>
          </a:p>
        </p:txBody>
      </p:sp>
      <p:sp>
        <p:nvSpPr>
          <p:cNvPr id="361" name="ZoneTexte 360">
            <a:extLst>
              <a:ext uri="{FF2B5EF4-FFF2-40B4-BE49-F238E27FC236}">
                <a16:creationId xmlns:a16="http://schemas.microsoft.com/office/drawing/2014/main" id="{F5E423ED-6FCC-414B-84A6-82A4C6F9788A}"/>
              </a:ext>
            </a:extLst>
          </p:cNvPr>
          <p:cNvSpPr txBox="1"/>
          <p:nvPr/>
        </p:nvSpPr>
        <p:spPr>
          <a:xfrm>
            <a:off x="10001786" y="4311650"/>
            <a:ext cx="3683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2" name="ZoneTexte 361">
            <a:extLst>
              <a:ext uri="{FF2B5EF4-FFF2-40B4-BE49-F238E27FC236}">
                <a16:creationId xmlns:a16="http://schemas.microsoft.com/office/drawing/2014/main" id="{A6114E1E-91F5-478D-949C-061199671015}"/>
              </a:ext>
            </a:extLst>
          </p:cNvPr>
          <p:cNvSpPr txBox="1"/>
          <p:nvPr/>
        </p:nvSpPr>
        <p:spPr>
          <a:xfrm>
            <a:off x="10373521" y="4264025"/>
            <a:ext cx="368300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1)</a:t>
            </a:r>
          </a:p>
        </p:txBody>
      </p:sp>
      <p:sp>
        <p:nvSpPr>
          <p:cNvPr id="363" name="ZoneTexte 362">
            <a:extLst>
              <a:ext uri="{FF2B5EF4-FFF2-40B4-BE49-F238E27FC236}">
                <a16:creationId xmlns:a16="http://schemas.microsoft.com/office/drawing/2014/main" id="{1EE6DD91-8F5D-4718-8FF9-03E431B13210}"/>
              </a:ext>
            </a:extLst>
          </p:cNvPr>
          <p:cNvSpPr txBox="1"/>
          <p:nvPr/>
        </p:nvSpPr>
        <p:spPr>
          <a:xfrm>
            <a:off x="10698162" y="4252913"/>
            <a:ext cx="4378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364" name="ZoneTexte 363">
            <a:extLst>
              <a:ext uri="{FF2B5EF4-FFF2-40B4-BE49-F238E27FC236}">
                <a16:creationId xmlns:a16="http://schemas.microsoft.com/office/drawing/2014/main" id="{A74B8A5E-C0E5-4919-BF72-E9ADB9693DF2}"/>
              </a:ext>
            </a:extLst>
          </p:cNvPr>
          <p:cNvSpPr txBox="1"/>
          <p:nvPr/>
        </p:nvSpPr>
        <p:spPr>
          <a:xfrm>
            <a:off x="11111637" y="4170363"/>
            <a:ext cx="368300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+4)</a:t>
            </a:r>
          </a:p>
        </p:txBody>
      </p:sp>
      <p:sp>
        <p:nvSpPr>
          <p:cNvPr id="365" name="ZoneTexte 364">
            <a:extLst>
              <a:ext uri="{FF2B5EF4-FFF2-40B4-BE49-F238E27FC236}">
                <a16:creationId xmlns:a16="http://schemas.microsoft.com/office/drawing/2014/main" id="{7950B871-6B59-452A-B8F1-129A33AC9478}"/>
              </a:ext>
            </a:extLst>
          </p:cNvPr>
          <p:cNvSpPr txBox="1"/>
          <p:nvPr/>
        </p:nvSpPr>
        <p:spPr>
          <a:xfrm>
            <a:off x="11381127" y="4017333"/>
            <a:ext cx="5635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-1)</a:t>
            </a:r>
          </a:p>
        </p:txBody>
      </p:sp>
      <p:sp>
        <p:nvSpPr>
          <p:cNvPr id="366" name="ZoneTexte 365">
            <a:extLst>
              <a:ext uri="{FF2B5EF4-FFF2-40B4-BE49-F238E27FC236}">
                <a16:creationId xmlns:a16="http://schemas.microsoft.com/office/drawing/2014/main" id="{886E17A4-5421-4A86-A1AE-1A457E232E50}"/>
              </a:ext>
            </a:extLst>
          </p:cNvPr>
          <p:cNvSpPr txBox="1"/>
          <p:nvPr/>
        </p:nvSpPr>
        <p:spPr>
          <a:xfrm>
            <a:off x="8836024" y="4017333"/>
            <a:ext cx="5905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-22)</a:t>
            </a:r>
          </a:p>
        </p:txBody>
      </p:sp>
      <p:pic>
        <p:nvPicPr>
          <p:cNvPr id="291" name="Image 290">
            <a:extLst>
              <a:ext uri="{FF2B5EF4-FFF2-40B4-BE49-F238E27FC236}">
                <a16:creationId xmlns:a16="http://schemas.microsoft.com/office/drawing/2014/main" id="{699BAE0F-CA3E-4DF5-8A7D-6CBCD17C9DE9}"/>
              </a:ext>
            </a:extLst>
          </p:cNvPr>
          <p:cNvPicPr>
            <a:picLocks/>
          </p:cNvPicPr>
          <p:nvPr/>
        </p:nvPicPr>
        <p:blipFill rotWithShape="1">
          <a:blip r:embed="rId90"/>
          <a:srcRect t="63342"/>
          <a:stretch/>
        </p:blipFill>
        <p:spPr>
          <a:xfrm>
            <a:off x="2200285" y="1373854"/>
            <a:ext cx="571643" cy="168301"/>
          </a:xfrm>
          <a:prstGeom prst="rect">
            <a:avLst/>
          </a:prstGeom>
        </p:spPr>
      </p:pic>
      <p:pic>
        <p:nvPicPr>
          <p:cNvPr id="185" name="Image 184">
            <a:extLst>
              <a:ext uri="{FF2B5EF4-FFF2-40B4-BE49-F238E27FC236}">
                <a16:creationId xmlns:a16="http://schemas.microsoft.com/office/drawing/2014/main" id="{44FC5ABB-B2FD-4502-8A15-9D17F9996D14}"/>
              </a:ext>
            </a:extLst>
          </p:cNvPr>
          <p:cNvPicPr>
            <a:picLocks noChangeAspect="1"/>
          </p:cNvPicPr>
          <p:nvPr/>
        </p:nvPicPr>
        <p:blipFill>
          <a:blip r:embed="rId89"/>
          <a:stretch>
            <a:fillRect/>
          </a:stretch>
        </p:blipFill>
        <p:spPr>
          <a:xfrm>
            <a:off x="1052273" y="1237249"/>
            <a:ext cx="646571" cy="430628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D55471C-F673-49AF-B6B6-D1F7793F450D}"/>
              </a:ext>
            </a:extLst>
          </p:cNvPr>
          <p:cNvSpPr txBox="1"/>
          <p:nvPr/>
        </p:nvSpPr>
        <p:spPr>
          <a:xfrm>
            <a:off x="199830" y="1841462"/>
            <a:ext cx="69196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vraisons</a:t>
            </a:r>
          </a:p>
        </p:txBody>
      </p:sp>
      <p:sp>
        <p:nvSpPr>
          <p:cNvPr id="193" name="ZoneTexte 192">
            <a:extLst>
              <a:ext uri="{FF2B5EF4-FFF2-40B4-BE49-F238E27FC236}">
                <a16:creationId xmlns:a16="http://schemas.microsoft.com/office/drawing/2014/main" id="{7B7BA3D8-699D-46E4-809D-8C67089C0A5B}"/>
              </a:ext>
            </a:extLst>
          </p:cNvPr>
          <p:cNvSpPr txBox="1"/>
          <p:nvPr/>
        </p:nvSpPr>
        <p:spPr>
          <a:xfrm>
            <a:off x="218583" y="2159272"/>
            <a:ext cx="691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andes brutes</a:t>
            </a:r>
          </a:p>
        </p:txBody>
      </p:sp>
      <p:sp>
        <p:nvSpPr>
          <p:cNvPr id="206" name="ZoneTexte 205">
            <a:extLst>
              <a:ext uri="{FF2B5EF4-FFF2-40B4-BE49-F238E27FC236}">
                <a16:creationId xmlns:a16="http://schemas.microsoft.com/office/drawing/2014/main" id="{157BCBAA-8D5A-4B20-A703-D44CEC7ACC46}"/>
              </a:ext>
            </a:extLst>
          </p:cNvPr>
          <p:cNvSpPr txBox="1"/>
          <p:nvPr/>
        </p:nvSpPr>
        <p:spPr>
          <a:xfrm>
            <a:off x="222254" y="2656140"/>
            <a:ext cx="69196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ulations</a:t>
            </a:r>
          </a:p>
        </p:txBody>
      </p:sp>
      <p:sp>
        <p:nvSpPr>
          <p:cNvPr id="211" name="ZoneTexte 210">
            <a:extLst>
              <a:ext uri="{FF2B5EF4-FFF2-40B4-BE49-F238E27FC236}">
                <a16:creationId xmlns:a16="http://schemas.microsoft.com/office/drawing/2014/main" id="{1529A971-253A-4069-AA3C-E8F2142DE640}"/>
              </a:ext>
            </a:extLst>
          </p:cNvPr>
          <p:cNvSpPr txBox="1"/>
          <p:nvPr/>
        </p:nvSpPr>
        <p:spPr>
          <a:xfrm>
            <a:off x="196236" y="3004607"/>
            <a:ext cx="691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ions </a:t>
            </a:r>
          </a:p>
          <a:p>
            <a:pPr algn="ctr"/>
            <a:r>
              <a:rPr lang="fr-FR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stock</a:t>
            </a:r>
          </a:p>
        </p:txBody>
      </p:sp>
      <p:graphicFrame>
        <p:nvGraphicFramePr>
          <p:cNvPr id="20" name="Tableau 20">
            <a:extLst>
              <a:ext uri="{FF2B5EF4-FFF2-40B4-BE49-F238E27FC236}">
                <a16:creationId xmlns:a16="http://schemas.microsoft.com/office/drawing/2014/main" id="{93A48EBA-2AD7-476B-9F3C-BD0243C4D4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7789152"/>
              </p:ext>
            </p:extLst>
          </p:nvPr>
        </p:nvGraphicFramePr>
        <p:xfrm>
          <a:off x="1042465" y="1673739"/>
          <a:ext cx="633361" cy="1701272"/>
        </p:xfrm>
        <a:graphic>
          <a:graphicData uri="http://schemas.openxmlformats.org/drawingml/2006/table">
            <a:tbl>
              <a:tblPr>
                <a:tableStyleId>{1FECB4D8-DB02-4DC6-A0A2-4F2EBAE1DC90}</a:tableStyleId>
              </a:tblPr>
              <a:tblGrid>
                <a:gridCol w="633361">
                  <a:extLst>
                    <a:ext uri="{9D8B030D-6E8A-4147-A177-3AD203B41FA5}">
                      <a16:colId xmlns:a16="http://schemas.microsoft.com/office/drawing/2014/main" val="2064618146"/>
                    </a:ext>
                  </a:extLst>
                </a:gridCol>
              </a:tblGrid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9391699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3324000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6985296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31722629"/>
                  </a:ext>
                </a:extLst>
              </a:tr>
            </a:tbl>
          </a:graphicData>
        </a:graphic>
      </p:graphicFrame>
      <p:graphicFrame>
        <p:nvGraphicFramePr>
          <p:cNvPr id="214" name="Tableau 20">
            <a:extLst>
              <a:ext uri="{FF2B5EF4-FFF2-40B4-BE49-F238E27FC236}">
                <a16:creationId xmlns:a16="http://schemas.microsoft.com/office/drawing/2014/main" id="{6A0534B6-8444-4A56-BB53-5AEEDA1F0D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2273548"/>
              </p:ext>
            </p:extLst>
          </p:nvPr>
        </p:nvGraphicFramePr>
        <p:xfrm>
          <a:off x="2124523" y="1686458"/>
          <a:ext cx="633361" cy="1701272"/>
        </p:xfrm>
        <a:graphic>
          <a:graphicData uri="http://schemas.openxmlformats.org/drawingml/2006/table">
            <a:tbl>
              <a:tblPr>
                <a:tableStyleId>{1FECB4D8-DB02-4DC6-A0A2-4F2EBAE1DC90}</a:tableStyleId>
              </a:tblPr>
              <a:tblGrid>
                <a:gridCol w="633361">
                  <a:extLst>
                    <a:ext uri="{9D8B030D-6E8A-4147-A177-3AD203B41FA5}">
                      <a16:colId xmlns:a16="http://schemas.microsoft.com/office/drawing/2014/main" val="2064618146"/>
                    </a:ext>
                  </a:extLst>
                </a:gridCol>
              </a:tblGrid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9391699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3324000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5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6985296"/>
                  </a:ext>
                </a:extLst>
              </a:tr>
              <a:tr h="425318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accent4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31722629"/>
                  </a:ext>
                </a:extLst>
              </a:tr>
            </a:tbl>
          </a:graphicData>
        </a:graphic>
      </p:graphicFrame>
      <p:cxnSp>
        <p:nvCxnSpPr>
          <p:cNvPr id="215" name="Connecteur droit 214">
            <a:extLst>
              <a:ext uri="{FF2B5EF4-FFF2-40B4-BE49-F238E27FC236}">
                <a16:creationId xmlns:a16="http://schemas.microsoft.com/office/drawing/2014/main" id="{7194423D-DA2E-4AA9-A87C-F19BCCFE6E94}"/>
              </a:ext>
            </a:extLst>
          </p:cNvPr>
          <p:cNvCxnSpPr>
            <a:cxnSpLocks/>
          </p:cNvCxnSpPr>
          <p:nvPr/>
        </p:nvCxnSpPr>
        <p:spPr>
          <a:xfrm>
            <a:off x="1884211" y="1537138"/>
            <a:ext cx="0" cy="1798638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ZoneTexte 240">
            <a:extLst>
              <a:ext uri="{FF2B5EF4-FFF2-40B4-BE49-F238E27FC236}">
                <a16:creationId xmlns:a16="http://schemas.microsoft.com/office/drawing/2014/main" id="{60E0184D-3E44-45FF-8DCD-30320905649A}"/>
              </a:ext>
            </a:extLst>
          </p:cNvPr>
          <p:cNvSpPr txBox="1"/>
          <p:nvPr/>
        </p:nvSpPr>
        <p:spPr>
          <a:xfrm>
            <a:off x="10916557" y="6257839"/>
            <a:ext cx="117387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estimations </a:t>
            </a:r>
            <a:r>
              <a:rPr lang="fr-FR" sz="600" dirty="0" err="1">
                <a:solidFill>
                  <a:schemeClr val="tx2"/>
                </a:solidFill>
              </a:rPr>
              <a:t>inernes</a:t>
            </a:r>
            <a:endParaRPr lang="fr-FR" sz="600" dirty="0">
              <a:solidFill>
                <a:schemeClr val="tx2"/>
              </a:solidFill>
            </a:endParaRPr>
          </a:p>
        </p:txBody>
      </p:sp>
      <p:sp>
        <p:nvSpPr>
          <p:cNvPr id="242" name="ZoneTexte 241">
            <a:extLst>
              <a:ext uri="{FF2B5EF4-FFF2-40B4-BE49-F238E27FC236}">
                <a16:creationId xmlns:a16="http://schemas.microsoft.com/office/drawing/2014/main" id="{CDC85699-793F-4A70-B9B6-9D55CF5F68E1}"/>
              </a:ext>
            </a:extLst>
          </p:cNvPr>
          <p:cNvSpPr txBox="1"/>
          <p:nvPr/>
        </p:nvSpPr>
        <p:spPr>
          <a:xfrm>
            <a:off x="11059746" y="3495791"/>
            <a:ext cx="144464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247" name="ZoneTexte 246">
            <a:extLst>
              <a:ext uri="{FF2B5EF4-FFF2-40B4-BE49-F238E27FC236}">
                <a16:creationId xmlns:a16="http://schemas.microsoft.com/office/drawing/2014/main" id="{773A6194-CB64-46DA-B1B7-4472C2143038}"/>
              </a:ext>
            </a:extLst>
          </p:cNvPr>
          <p:cNvSpPr txBox="1"/>
          <p:nvPr/>
        </p:nvSpPr>
        <p:spPr>
          <a:xfrm>
            <a:off x="6158023" y="3579760"/>
            <a:ext cx="4187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</a:p>
        </p:txBody>
      </p:sp>
      <p:cxnSp>
        <p:nvCxnSpPr>
          <p:cNvPr id="245" name="Connecteur droit 244">
            <a:extLst>
              <a:ext uri="{FF2B5EF4-FFF2-40B4-BE49-F238E27FC236}">
                <a16:creationId xmlns:a16="http://schemas.microsoft.com/office/drawing/2014/main" id="{AFDB29DF-5506-4336-A5B9-B7DDA77D3DDB}"/>
              </a:ext>
            </a:extLst>
          </p:cNvPr>
          <p:cNvCxnSpPr/>
          <p:nvPr/>
        </p:nvCxnSpPr>
        <p:spPr>
          <a:xfrm>
            <a:off x="6012906" y="3598149"/>
            <a:ext cx="684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62A22F70-FB03-456A-83CB-014703592A3E}"/>
              </a:ext>
            </a:extLst>
          </p:cNvPr>
          <p:cNvCxnSpPr/>
          <p:nvPr/>
        </p:nvCxnSpPr>
        <p:spPr>
          <a:xfrm flipH="1">
            <a:off x="8715746" y="1568027"/>
            <a:ext cx="0" cy="179804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3" name="Groupe 222">
            <a:extLst>
              <a:ext uri="{FF2B5EF4-FFF2-40B4-BE49-F238E27FC236}">
                <a16:creationId xmlns:a16="http://schemas.microsoft.com/office/drawing/2014/main" id="{1532DBDA-4563-47D6-AB49-0B0E433EFC2C}"/>
              </a:ext>
            </a:extLst>
          </p:cNvPr>
          <p:cNvGrpSpPr/>
          <p:nvPr/>
        </p:nvGrpSpPr>
        <p:grpSpPr>
          <a:xfrm>
            <a:off x="3374734" y="6072513"/>
            <a:ext cx="2520000" cy="231775"/>
            <a:chOff x="666509" y="3568700"/>
            <a:chExt cx="2520473" cy="231775"/>
          </a:xfrm>
        </p:grpSpPr>
        <p:sp>
          <p:nvSpPr>
            <p:cNvPr id="227" name="ZoneTexte 226">
              <a:extLst>
                <a:ext uri="{FF2B5EF4-FFF2-40B4-BE49-F238E27FC236}">
                  <a16:creationId xmlns:a16="http://schemas.microsoft.com/office/drawing/2014/main" id="{1955EBDF-8802-4470-9C35-F9D51C4B61AE}"/>
                </a:ext>
              </a:extLst>
            </p:cNvPr>
            <p:cNvSpPr txBox="1"/>
            <p:nvPr/>
          </p:nvSpPr>
          <p:spPr>
            <a:xfrm>
              <a:off x="1999761" y="3568700"/>
              <a:ext cx="777698" cy="23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20</a:t>
              </a:r>
            </a:p>
          </p:txBody>
        </p:sp>
        <p:cxnSp>
          <p:nvCxnSpPr>
            <p:cNvPr id="231" name="Connecteur droit 230">
              <a:extLst>
                <a:ext uri="{FF2B5EF4-FFF2-40B4-BE49-F238E27FC236}">
                  <a16:creationId xmlns:a16="http://schemas.microsoft.com/office/drawing/2014/main" id="{F7692571-50DF-4FB7-8A88-FC1F69B7377C}"/>
                </a:ext>
              </a:extLst>
            </p:cNvPr>
            <p:cNvCxnSpPr/>
            <p:nvPr/>
          </p:nvCxnSpPr>
          <p:spPr>
            <a:xfrm>
              <a:off x="666509" y="3579099"/>
              <a:ext cx="2520473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9" name="Connecteur droit 278">
            <a:extLst>
              <a:ext uri="{FF2B5EF4-FFF2-40B4-BE49-F238E27FC236}">
                <a16:creationId xmlns:a16="http://schemas.microsoft.com/office/drawing/2014/main" id="{96EB7270-1670-4F9D-A817-68DA75900D78}"/>
              </a:ext>
            </a:extLst>
          </p:cNvPr>
          <p:cNvCxnSpPr/>
          <p:nvPr/>
        </p:nvCxnSpPr>
        <p:spPr>
          <a:xfrm flipH="1">
            <a:off x="10926707" y="1533481"/>
            <a:ext cx="0" cy="179804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ZoneTexte 248">
            <a:extLst>
              <a:ext uri="{FF2B5EF4-FFF2-40B4-BE49-F238E27FC236}">
                <a16:creationId xmlns:a16="http://schemas.microsoft.com/office/drawing/2014/main" id="{40511A4B-2467-4218-8D74-C0FD91F1DF4F}"/>
              </a:ext>
            </a:extLst>
          </p:cNvPr>
          <p:cNvSpPr txBox="1"/>
          <p:nvPr/>
        </p:nvSpPr>
        <p:spPr>
          <a:xfrm>
            <a:off x="6151315" y="6059367"/>
            <a:ext cx="4187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</a:p>
        </p:txBody>
      </p:sp>
      <p:cxnSp>
        <p:nvCxnSpPr>
          <p:cNvPr id="252" name="Connecteur droit 251">
            <a:extLst>
              <a:ext uri="{FF2B5EF4-FFF2-40B4-BE49-F238E27FC236}">
                <a16:creationId xmlns:a16="http://schemas.microsoft.com/office/drawing/2014/main" id="{0AE33B11-BBEE-4A09-ABA8-5877F46D4D73}"/>
              </a:ext>
            </a:extLst>
          </p:cNvPr>
          <p:cNvCxnSpPr/>
          <p:nvPr/>
        </p:nvCxnSpPr>
        <p:spPr>
          <a:xfrm>
            <a:off x="6006198" y="6077756"/>
            <a:ext cx="684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4" name="Graphique 253">
            <a:extLst>
              <a:ext uri="{FF2B5EF4-FFF2-40B4-BE49-F238E27FC236}">
                <a16:creationId xmlns:a16="http://schemas.microsoft.com/office/drawing/2014/main" id="{4A9F05B8-4C61-41AD-B6FE-012BC0EA6717}"/>
              </a:ext>
            </a:extLst>
          </p:cNvPr>
          <p:cNvGraphicFramePr>
            <a:graphicFrameLocks/>
          </p:cNvGraphicFramePr>
          <p:nvPr>
            <p:custDataLst>
              <p:tags r:id="rId82"/>
            </p:custDataLst>
            <p:extLst>
              <p:ext uri="{D42A27DB-BD31-4B8C-83A1-F6EECF244321}">
                <p14:modId xmlns:p14="http://schemas.microsoft.com/office/powerpoint/2010/main" val="506747263"/>
              </p:ext>
            </p:extLst>
          </p:nvPr>
        </p:nvGraphicFramePr>
        <p:xfrm>
          <a:off x="6752822" y="1643807"/>
          <a:ext cx="2589093" cy="17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7"/>
          </a:graphicData>
        </a:graphic>
      </p:graphicFrame>
      <p:graphicFrame>
        <p:nvGraphicFramePr>
          <p:cNvPr id="256" name="Graphique 255">
            <a:extLst>
              <a:ext uri="{FF2B5EF4-FFF2-40B4-BE49-F238E27FC236}">
                <a16:creationId xmlns:a16="http://schemas.microsoft.com/office/drawing/2014/main" id="{2EFAD91C-BAC7-4F15-859B-7DC7BBC5D264}"/>
              </a:ext>
            </a:extLst>
          </p:cNvPr>
          <p:cNvGraphicFramePr>
            <a:graphicFrameLocks/>
          </p:cNvGraphicFramePr>
          <p:nvPr>
            <p:custDataLst>
              <p:tags r:id="rId83"/>
            </p:custDataLst>
            <p:extLst>
              <p:ext uri="{D42A27DB-BD31-4B8C-83A1-F6EECF244321}">
                <p14:modId xmlns:p14="http://schemas.microsoft.com/office/powerpoint/2010/main" val="2399525049"/>
              </p:ext>
            </p:extLst>
          </p:nvPr>
        </p:nvGraphicFramePr>
        <p:xfrm>
          <a:off x="9452562" y="1588312"/>
          <a:ext cx="2491200" cy="17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8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715760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Objet 99" hidden="1">
            <a:extLst>
              <a:ext uri="{FF2B5EF4-FFF2-40B4-BE49-F238E27FC236}">
                <a16:creationId xmlns:a16="http://schemas.microsoft.com/office/drawing/2014/main" id="{8589F35F-0A8D-4311-B1FF-908064655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20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35" imgW="344" imgH="344" progId="TCLayout.ActiveDocument.1">
                  <p:embed/>
                </p:oleObj>
              </mc:Choice>
              <mc:Fallback>
                <p:oleObj name="Diapositive think-cell" r:id="rId35" imgW="344" imgH="344" progId="TCLayout.ActiveDocument.1">
                  <p:embed/>
                  <p:pic>
                    <p:nvPicPr>
                      <p:cNvPr id="100" name="Objet 99" hidden="1">
                        <a:extLst>
                          <a:ext uri="{FF2B5EF4-FFF2-40B4-BE49-F238E27FC236}">
                            <a16:creationId xmlns:a16="http://schemas.microsoft.com/office/drawing/2014/main" id="{8589F35F-0A8D-4311-B1FF-908064655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95EFB8ED-8525-44D3-81E0-0D09718A15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1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869" name="Image 868">
            <a:extLst>
              <a:ext uri="{FF2B5EF4-FFF2-40B4-BE49-F238E27FC236}">
                <a16:creationId xmlns:a16="http://schemas.microsoft.com/office/drawing/2014/main" id="{ACF24F4C-AA51-48A3-9BBB-F7448B2C06B3}"/>
              </a:ext>
            </a:extLst>
          </p:cNvPr>
          <p:cNvPicPr>
            <a:picLocks/>
          </p:cNvPicPr>
          <p:nvPr/>
        </p:nvPicPr>
        <p:blipFill rotWithShape="1">
          <a:blip r:embed="rId37"/>
          <a:srcRect l="2155"/>
          <a:stretch/>
        </p:blipFill>
        <p:spPr>
          <a:xfrm>
            <a:off x="84000" y="976768"/>
            <a:ext cx="12024000" cy="5492295"/>
          </a:xfrm>
          <a:prstGeom prst="rect">
            <a:avLst/>
          </a:prstGeom>
        </p:spPr>
      </p:pic>
      <p:sp>
        <p:nvSpPr>
          <p:cNvPr id="871" name="Rectangle 870">
            <a:extLst>
              <a:ext uri="{FF2B5EF4-FFF2-40B4-BE49-F238E27FC236}">
                <a16:creationId xmlns:a16="http://schemas.microsoft.com/office/drawing/2014/main" id="{64210237-1B7A-4D9A-8DEF-E0D7D025F0C2}"/>
              </a:ext>
            </a:extLst>
          </p:cNvPr>
          <p:cNvSpPr/>
          <p:nvPr/>
        </p:nvSpPr>
        <p:spPr>
          <a:xfrm>
            <a:off x="5993474" y="1364325"/>
            <a:ext cx="5981943" cy="3060355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0" name="Rectangle 869">
            <a:extLst>
              <a:ext uri="{FF2B5EF4-FFF2-40B4-BE49-F238E27FC236}">
                <a16:creationId xmlns:a16="http://schemas.microsoft.com/office/drawing/2014/main" id="{C75659F7-9CB2-4887-8A0C-810962CD176B}"/>
              </a:ext>
            </a:extLst>
          </p:cNvPr>
          <p:cNvSpPr/>
          <p:nvPr/>
        </p:nvSpPr>
        <p:spPr>
          <a:xfrm>
            <a:off x="189707" y="1373295"/>
            <a:ext cx="5754576" cy="5019013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9B1A035-2CF0-4F9D-9E1F-5C99E51D4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cap="small" dirty="0"/>
              <a:t>Prévisions des cadences de production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B489620-C6BF-4186-8E3F-F876FA63F9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45335D-FC8B-48AC-8398-E11E408D4F7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739" name="Rectangle 738">
            <a:extLst>
              <a:ext uri="{FF2B5EF4-FFF2-40B4-BE49-F238E27FC236}">
                <a16:creationId xmlns:a16="http://schemas.microsoft.com/office/drawing/2014/main" id="{33C78E60-2E06-449B-AF6E-274549A09B03}"/>
              </a:ext>
            </a:extLst>
          </p:cNvPr>
          <p:cNvSpPr/>
          <p:nvPr/>
        </p:nvSpPr>
        <p:spPr bwMode="auto">
          <a:xfrm>
            <a:off x="177869" y="1322206"/>
            <a:ext cx="5613332" cy="441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FA6414"/>
              </a:buClr>
            </a:pPr>
            <a:r>
              <a:rPr lang="fr-CA" sz="1100" b="1" kern="1400" dirty="0">
                <a:solidFill>
                  <a:srgbClr val="1A003B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évisions des cadences de production mensuelle, nb d’avions - 2019 – 2025 (PIC#40)</a:t>
            </a:r>
          </a:p>
        </p:txBody>
      </p:sp>
      <p:sp>
        <p:nvSpPr>
          <p:cNvPr id="742" name="Rectangle 741">
            <a:extLst>
              <a:ext uri="{FF2B5EF4-FFF2-40B4-BE49-F238E27FC236}">
                <a16:creationId xmlns:a16="http://schemas.microsoft.com/office/drawing/2014/main" id="{ABC18BB4-82C9-4223-AAD8-AE0995D1758D}"/>
              </a:ext>
            </a:extLst>
          </p:cNvPr>
          <p:cNvSpPr/>
          <p:nvPr/>
        </p:nvSpPr>
        <p:spPr bwMode="auto">
          <a:xfrm>
            <a:off x="6003624" y="1322206"/>
            <a:ext cx="5613400" cy="441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FA6414"/>
              </a:buClr>
            </a:pPr>
            <a:r>
              <a:rPr lang="fr-CA" sz="1100" b="1" kern="1400" dirty="0">
                <a:solidFill>
                  <a:srgbClr val="1A003B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adences de production mensuelle à fin janvier vs Mois-1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CA74808-F434-4FB1-BE5E-2F031EAA0FDE}"/>
              </a:ext>
            </a:extLst>
          </p:cNvPr>
          <p:cNvSpPr/>
          <p:nvPr/>
        </p:nvSpPr>
        <p:spPr>
          <a:xfrm>
            <a:off x="84000" y="1067765"/>
            <a:ext cx="12024000" cy="2357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évisions des cadences de production mensuelle</a:t>
            </a:r>
          </a:p>
        </p:txBody>
      </p:sp>
      <p:pic>
        <p:nvPicPr>
          <p:cNvPr id="149" name="Image 31">
            <a:extLst>
              <a:ext uri="{FF2B5EF4-FFF2-40B4-BE49-F238E27FC236}">
                <a16:creationId xmlns:a16="http://schemas.microsoft.com/office/drawing/2014/main" id="{2BA8DE92-6738-4C04-AE1A-247FB8844C8B}"/>
              </a:ext>
            </a:extLst>
          </p:cNvPr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133" name="Ellipse 132">
            <a:extLst>
              <a:ext uri="{FF2B5EF4-FFF2-40B4-BE49-F238E27FC236}">
                <a16:creationId xmlns:a16="http://schemas.microsoft.com/office/drawing/2014/main" id="{4831262B-A26E-47A5-A286-710C146AE50D}"/>
              </a:ext>
            </a:extLst>
          </p:cNvPr>
          <p:cNvSpPr/>
          <p:nvPr/>
        </p:nvSpPr>
        <p:spPr>
          <a:xfrm>
            <a:off x="263375" y="460109"/>
            <a:ext cx="324000" cy="3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3</a:t>
            </a:r>
          </a:p>
        </p:txBody>
      </p:sp>
      <p:graphicFrame>
        <p:nvGraphicFramePr>
          <p:cNvPr id="73" name="Chart 3">
            <a:extLst>
              <a:ext uri="{FF2B5EF4-FFF2-40B4-BE49-F238E27FC236}">
                <a16:creationId xmlns:a16="http://schemas.microsoft.com/office/drawing/2014/main" id="{19873F2F-4DAF-4D60-A499-28C97B478CA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85361233"/>
              </p:ext>
            </p:extLst>
          </p:nvPr>
        </p:nvGraphicFramePr>
        <p:xfrm>
          <a:off x="6007100" y="2054225"/>
          <a:ext cx="2290763" cy="2289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46" name="Espace réservé du texte 2">
            <a:extLst>
              <a:ext uri="{FF2B5EF4-FFF2-40B4-BE49-F238E27FC236}">
                <a16:creationId xmlns:a16="http://schemas.microsoft.com/office/drawing/2014/main" id="{2052B8E4-724C-447E-9CDA-FF93C0EBFE5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301038" y="3971925"/>
            <a:ext cx="2714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F3081F92-6084-4D2A-B24D-98C4E9B04BFD}" type="datetime'A''''''3''''''''''''''''8''0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80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8" name="Espace réservé du texte 2">
            <a:extLst>
              <a:ext uri="{FF2B5EF4-FFF2-40B4-BE49-F238E27FC236}">
                <a16:creationId xmlns:a16="http://schemas.microsoft.com/office/drawing/2014/main" id="{BBBED07B-9BF3-49F2-B15C-32DE30829C4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01038" y="2273300"/>
            <a:ext cx="2714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55E4D64-DC0E-4302-9FD0-A225C73324DC}" type="datetime'''''A''''2''''2''''''''''''''''''''0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220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7" name="Espace réservé du texte 2">
            <a:extLst>
              <a:ext uri="{FF2B5EF4-FFF2-40B4-BE49-F238E27FC236}">
                <a16:creationId xmlns:a16="http://schemas.microsoft.com/office/drawing/2014/main" id="{A6A6738F-F0E0-486F-9139-0830926B3AD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301038" y="3122613"/>
            <a:ext cx="5238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E2627584-1013-40F1-8EBD-45FDBF79B48B}" type="datetime'''''A''3''''''30'''''''''''' ''''''''''Fa''''''''m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30 Fam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0" name="Espace réservé du texte 2">
            <a:extLst>
              <a:ext uri="{FF2B5EF4-FFF2-40B4-BE49-F238E27FC236}">
                <a16:creationId xmlns:a16="http://schemas.microsoft.com/office/drawing/2014/main" id="{5FF19DBF-43B9-4F47-88D6-892CEA366C2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01038" y="2697163"/>
            <a:ext cx="5238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5299C756-E723-4523-B465-58BEE8975A07}" type="datetime'''''A3''''''''''2''0 ''''''''''''F''''''''am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20 Fam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1" name="Espace réservé du texte 2">
            <a:extLst>
              <a:ext uri="{FF2B5EF4-FFF2-40B4-BE49-F238E27FC236}">
                <a16:creationId xmlns:a16="http://schemas.microsoft.com/office/drawing/2014/main" id="{D886DA7A-7E73-490B-A584-A4D185A304C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301038" y="3546475"/>
            <a:ext cx="2714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287CEE8B-8F21-496D-894F-FA7358D2A268}" type="datetime'''''A''''''''''''3''''''''5''''''0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350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9" name="Espace réservé du texte 2">
            <a:extLst>
              <a:ext uri="{FF2B5EF4-FFF2-40B4-BE49-F238E27FC236}">
                <a16:creationId xmlns:a16="http://schemas.microsoft.com/office/drawing/2014/main" id="{5B7059E9-43A6-4A6A-A599-97632AE015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989888" y="3198813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r>
              <a:rPr lang="fr-FR" altLang="en-US" sz="1000" b="1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2</a:t>
            </a:r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2" name="Espace réservé du texte 2">
            <a:extLst>
              <a:ext uri="{FF2B5EF4-FFF2-40B4-BE49-F238E27FC236}">
                <a16:creationId xmlns:a16="http://schemas.microsoft.com/office/drawing/2014/main" id="{2A1C2A04-DF16-4F40-975F-860868DBC35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769224" y="3471863"/>
            <a:ext cx="1968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r>
              <a:rPr lang="fr-FR" sz="1000" noProof="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4,5</a:t>
            </a:r>
          </a:p>
        </p:txBody>
      </p:sp>
      <p:sp>
        <p:nvSpPr>
          <p:cNvPr id="154" name="Espace réservé du texte 2">
            <a:extLst>
              <a:ext uri="{FF2B5EF4-FFF2-40B4-BE49-F238E27FC236}">
                <a16:creationId xmlns:a16="http://schemas.microsoft.com/office/drawing/2014/main" id="{77A52775-0D34-4F19-A17F-B58D0EAA86A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089901" y="4048125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r>
              <a:rPr lang="fr-FR" altLang="en-US" sz="1000" b="1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0</a:t>
            </a:r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3" name="Espace réservé du texte 2">
            <a:extLst>
              <a:ext uri="{FF2B5EF4-FFF2-40B4-BE49-F238E27FC236}">
                <a16:creationId xmlns:a16="http://schemas.microsoft.com/office/drawing/2014/main" id="{B4C5BA8C-7DBF-49E9-AA9D-5549C836B8F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035675" y="2773363"/>
            <a:ext cx="165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r>
              <a:rPr lang="fr-FR" sz="1000" b="1" noProof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40</a:t>
            </a:r>
          </a:p>
        </p:txBody>
      </p:sp>
      <p:sp>
        <p:nvSpPr>
          <p:cNvPr id="68" name="Espace réservé du texte 2">
            <a:extLst>
              <a:ext uri="{FF2B5EF4-FFF2-40B4-BE49-F238E27FC236}">
                <a16:creationId xmlns:a16="http://schemas.microsoft.com/office/drawing/2014/main" id="{56C86E98-5142-43B2-B21A-D8FAEB0EABD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767637" y="3622675"/>
            <a:ext cx="198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r>
              <a:rPr lang="fr-FR" altLang="en-US" sz="1000" b="1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4,5</a:t>
            </a:r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6" name="Espace réservé du texte 2">
            <a:extLst>
              <a:ext uri="{FF2B5EF4-FFF2-40B4-BE49-F238E27FC236}">
                <a16:creationId xmlns:a16="http://schemas.microsoft.com/office/drawing/2014/main" id="{0D4177E7-9542-42E8-9731-1C60CBD220A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089901" y="3895725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5C06FECF-5B00-4BD4-8DC0-2EAB993F1204}" type="datetime'''''''''''''''''''''''''''''''''''''''''''''''''''''0'''''''">
              <a:rPr lang="fr-FR" altLang="en-US" sz="100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0</a:t>
            </a:fld>
            <a:endParaRPr lang="fr-FR" sz="1000" noProof="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ACAE95C9-3B62-45D6-B8CC-694C1F63E976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0882313" y="1476375"/>
            <a:ext cx="196850" cy="147638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1E03B198-07C0-4269-95E4-B461A9DFB222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882313" y="1695450"/>
            <a:ext cx="196850" cy="147638"/>
          </a:xfrm>
          <a:prstGeom prst="rect">
            <a:avLst/>
          </a:prstGeom>
          <a:solidFill>
            <a:srgbClr val="44546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7" name="Espace réservé du texte 2">
            <a:extLst>
              <a:ext uri="{FF2B5EF4-FFF2-40B4-BE49-F238E27FC236}">
                <a16:creationId xmlns:a16="http://schemas.microsoft.com/office/drawing/2014/main" id="{6DDBECF7-8C5D-4120-9EF0-E8D640FB88F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129963" y="1471613"/>
            <a:ext cx="4016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14432F60-1795-450C-894F-17354596EB2A}" type="datetime'''''''M''''o''is''''-''''''''1'''''''''''''">
              <a:rPr lang="fr-FR" altLang="en-US" sz="1100" b="1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Mois-1</a:t>
            </a:fld>
            <a:endParaRPr lang="fr-FR" sz="11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8" name="Espace réservé du texte 2">
            <a:extLst>
              <a:ext uri="{FF2B5EF4-FFF2-40B4-BE49-F238E27FC236}">
                <a16:creationId xmlns:a16="http://schemas.microsoft.com/office/drawing/2014/main" id="{B3473F50-670B-43ED-AF3C-72A60F9C0F2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129963" y="1690688"/>
            <a:ext cx="3778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1E02D007-A37A-43E3-966F-3233EF8AA16B}" type="datetime'''''A'''' d''at''e'''''''''''''''''''''''''''''''''''''''''''">
              <a:rPr lang="fr-FR" altLang="en-US" sz="11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A date</a:t>
            </a:fld>
            <a:endParaRPr lang="fr-FR" sz="11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62" name="Chart 3">
            <a:extLst>
              <a:ext uri="{FF2B5EF4-FFF2-40B4-BE49-F238E27FC236}">
                <a16:creationId xmlns:a16="http://schemas.microsoft.com/office/drawing/2014/main" id="{F122216A-4DEB-4CF4-B3FE-ADA2F0989FCB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278968602"/>
              </p:ext>
            </p:extLst>
          </p:nvPr>
        </p:nvGraphicFramePr>
        <p:xfrm>
          <a:off x="9504363" y="2054225"/>
          <a:ext cx="2290762" cy="2289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74" name="Espace réservé du texte 2">
            <a:extLst>
              <a:ext uri="{FF2B5EF4-FFF2-40B4-BE49-F238E27FC236}">
                <a16:creationId xmlns:a16="http://schemas.microsoft.com/office/drawing/2014/main" id="{EFD6BCAC-30FB-4CF2-A00A-EDF32F55B26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12313" y="3716338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altLang="en-US" sz="1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0</a:t>
            </a:r>
            <a:endParaRPr lang="fr-FR" sz="1000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2" name="Espace réservé du texte 2">
            <a:extLst>
              <a:ext uri="{FF2B5EF4-FFF2-40B4-BE49-F238E27FC236}">
                <a16:creationId xmlns:a16="http://schemas.microsoft.com/office/drawing/2014/main" id="{A5B439A7-DF17-413E-B1D8-A0ECCF4FE4C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053513" y="2236788"/>
            <a:ext cx="4476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1228CC2B-7A05-4819-9A8D-7FE434D1A597}" type="datetime'7''''3''''''''''''''7 F''''''''''''''''''''a''''m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37 Fam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3" name="Espace réservé du texte 2">
            <a:extLst>
              <a:ext uri="{FF2B5EF4-FFF2-40B4-BE49-F238E27FC236}">
                <a16:creationId xmlns:a16="http://schemas.microsoft.com/office/drawing/2014/main" id="{718627F3-50D9-4D97-80C1-DD26C7D4B8C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305925" y="2590800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031A3A7-738A-4836-9D0E-BB32DA6469E1}" type="datetime'7''''''''''''''''''''''''4''''7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4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4" name="Espace réservé du texte 2">
            <a:extLst>
              <a:ext uri="{FF2B5EF4-FFF2-40B4-BE49-F238E27FC236}">
                <a16:creationId xmlns:a16="http://schemas.microsoft.com/office/drawing/2014/main" id="{AFD30AB5-9152-4985-8BFC-2F06F5ADED9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305925" y="2944813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D250BE5-CF03-4CDF-88EE-BF4FDB089DFF}" type="datetime'''''76''''''''''''7''''''''''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6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8" name="Espace réservé du texte 2">
            <a:extLst>
              <a:ext uri="{FF2B5EF4-FFF2-40B4-BE49-F238E27FC236}">
                <a16:creationId xmlns:a16="http://schemas.microsoft.com/office/drawing/2014/main" id="{B22116CF-A9AF-423C-893C-FDD7D90CA7D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688513" y="2527300"/>
            <a:ext cx="1968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altLang="en-US" sz="100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0,5</a:t>
            </a:r>
            <a:endParaRPr lang="fr-FR" sz="1000" noProof="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0" name="Espace réservé du texte 2">
            <a:extLst>
              <a:ext uri="{FF2B5EF4-FFF2-40B4-BE49-F238E27FC236}">
                <a16:creationId xmlns:a16="http://schemas.microsoft.com/office/drawing/2014/main" id="{F294ACFE-BD76-4FF7-9600-C2A421E2AB2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305925" y="3298825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8C6899FF-114F-4FFC-8649-9BB808A6C06E}" type="datetime'''''''7''''''''''''''''''''7''''''''''''''''''''7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7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3" name="Espace réservé du texte 2">
            <a:extLst>
              <a:ext uri="{FF2B5EF4-FFF2-40B4-BE49-F238E27FC236}">
                <a16:creationId xmlns:a16="http://schemas.microsoft.com/office/drawing/2014/main" id="{84A01702-8DB0-42AE-9C4B-F8980921E94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688513" y="2654300"/>
            <a:ext cx="198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sz="1000" b="1" noProof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0,5</a:t>
            </a:r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AAD17029-FDDA-448C-BF13-577BA6F74FD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236075" y="3652838"/>
            <a:ext cx="265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53E3779-2DFD-448E-B7AD-544BAB77807E}" type="datetime'''''''''''''''''77''''''''7X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77X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1" name="Espace réservé du texte 2">
            <a:extLst>
              <a:ext uri="{FF2B5EF4-FFF2-40B4-BE49-F238E27FC236}">
                <a16:creationId xmlns:a16="http://schemas.microsoft.com/office/drawing/2014/main" id="{37A5F7BA-13A2-4C54-B62A-A9E8A6C14D4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305925" y="4006850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F1AAD77-5191-4649-BA09-04005EAED59B}" type="datetime'''''7''8''''''''''''7'''''''''''''''''''''''''''">
              <a:rPr lang="fr-FR" altLang="en-US" sz="1000" b="1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/>
              <a:t>787</a:t>
            </a:fld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9" name="Espace réservé du texte 2">
            <a:extLst>
              <a:ext uri="{FF2B5EF4-FFF2-40B4-BE49-F238E27FC236}">
                <a16:creationId xmlns:a16="http://schemas.microsoft.com/office/drawing/2014/main" id="{E78AAA22-A149-4799-A10A-F9288E5F9E8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071100" y="2881313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altLang="en-US" sz="100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  <a:endParaRPr lang="fr-FR" sz="1000" noProof="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0" name="Espace réservé du texte 2">
            <a:extLst>
              <a:ext uri="{FF2B5EF4-FFF2-40B4-BE49-F238E27FC236}">
                <a16:creationId xmlns:a16="http://schemas.microsoft.com/office/drawing/2014/main" id="{52621BC1-C784-4FEC-AE44-5A8556A007C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0071100" y="3008313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fr-FR" altLang="en-US" sz="1000" b="1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  <a:endParaRPr lang="fr-FR" sz="1000" b="1" noProof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3" name="Espace réservé du texte 2">
            <a:extLst>
              <a:ext uri="{FF2B5EF4-FFF2-40B4-BE49-F238E27FC236}">
                <a16:creationId xmlns:a16="http://schemas.microsoft.com/office/drawing/2014/main" id="{E3455FAA-AD84-4AAE-88E7-1667E73AB41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612314" y="3589338"/>
            <a:ext cx="1000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0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9928F5DF-5C25-42FA-BF09-910DD277672B}" type="datetime'''''''''''''''''''''''''''''''''''''''0'''''''''''''">
              <a:rPr lang="fr-FR" altLang="en-US" sz="100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0</a:t>
            </a:fld>
            <a:endParaRPr lang="fr-FR" sz="1000" noProof="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8" name="ZoneTexte 177">
            <a:extLst>
              <a:ext uri="{FF2B5EF4-FFF2-40B4-BE49-F238E27FC236}">
                <a16:creationId xmlns:a16="http://schemas.microsoft.com/office/drawing/2014/main" id="{F48AE032-8349-4D23-AA1B-0CB2DFBBA03D}"/>
              </a:ext>
            </a:extLst>
          </p:cNvPr>
          <p:cNvSpPr txBox="1"/>
          <p:nvPr/>
        </p:nvSpPr>
        <p:spPr>
          <a:xfrm>
            <a:off x="10949711" y="4202646"/>
            <a:ext cx="1044575" cy="184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pic>
        <p:nvPicPr>
          <p:cNvPr id="183" name="Image 182">
            <a:extLst>
              <a:ext uri="{FF2B5EF4-FFF2-40B4-BE49-F238E27FC236}">
                <a16:creationId xmlns:a16="http://schemas.microsoft.com/office/drawing/2014/main" id="{0961CF9C-5EEE-4B4E-A048-A7BF5CDF0EB1}"/>
              </a:ext>
            </a:extLst>
          </p:cNvPr>
          <p:cNvPicPr>
            <a:picLocks/>
          </p:cNvPicPr>
          <p:nvPr/>
        </p:nvPicPr>
        <p:blipFill>
          <a:blip r:embed="rId42"/>
          <a:stretch>
            <a:fillRect/>
          </a:stretch>
        </p:blipFill>
        <p:spPr>
          <a:xfrm>
            <a:off x="6727825" y="1792288"/>
            <a:ext cx="684213" cy="455613"/>
          </a:xfrm>
          <a:prstGeom prst="rect">
            <a:avLst/>
          </a:prstGeom>
        </p:spPr>
      </p:pic>
      <p:pic>
        <p:nvPicPr>
          <p:cNvPr id="184" name="Image 183">
            <a:extLst>
              <a:ext uri="{FF2B5EF4-FFF2-40B4-BE49-F238E27FC236}">
                <a16:creationId xmlns:a16="http://schemas.microsoft.com/office/drawing/2014/main" id="{D03C2D69-7F94-4528-80D7-F007ADB06DA0}"/>
              </a:ext>
            </a:extLst>
          </p:cNvPr>
          <p:cNvPicPr>
            <a:picLocks/>
          </p:cNvPicPr>
          <p:nvPr/>
        </p:nvPicPr>
        <p:blipFill rotWithShape="1">
          <a:blip r:embed="rId43"/>
          <a:srcRect t="63342"/>
          <a:stretch/>
        </p:blipFill>
        <p:spPr>
          <a:xfrm>
            <a:off x="10120313" y="1936750"/>
            <a:ext cx="684213" cy="166688"/>
          </a:xfrm>
          <a:prstGeom prst="rect">
            <a:avLst/>
          </a:prstGeom>
        </p:spPr>
      </p:pic>
      <p:cxnSp>
        <p:nvCxnSpPr>
          <p:cNvPr id="185" name="Connecteur droit 184">
            <a:extLst>
              <a:ext uri="{FF2B5EF4-FFF2-40B4-BE49-F238E27FC236}">
                <a16:creationId xmlns:a16="http://schemas.microsoft.com/office/drawing/2014/main" id="{8E070C81-7978-4428-802F-E547D5658686}"/>
              </a:ext>
            </a:extLst>
          </p:cNvPr>
          <p:cNvCxnSpPr>
            <a:cxnSpLocks/>
          </p:cNvCxnSpPr>
          <p:nvPr/>
        </p:nvCxnSpPr>
        <p:spPr>
          <a:xfrm>
            <a:off x="8953500" y="1973263"/>
            <a:ext cx="0" cy="2159000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F0937B19-5489-4B9E-A69B-119AB1EA458D}"/>
              </a:ext>
            </a:extLst>
          </p:cNvPr>
          <p:cNvSpPr/>
          <p:nvPr/>
        </p:nvSpPr>
        <p:spPr>
          <a:xfrm>
            <a:off x="5993474" y="4480561"/>
            <a:ext cx="5981943" cy="1911747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9164E85-8617-4DC4-BD6B-C8C57128CE6D}"/>
              </a:ext>
            </a:extLst>
          </p:cNvPr>
          <p:cNvSpPr/>
          <p:nvPr/>
        </p:nvSpPr>
        <p:spPr bwMode="auto">
          <a:xfrm>
            <a:off x="6003205" y="4407694"/>
            <a:ext cx="5613400" cy="441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FA6414"/>
              </a:buClr>
            </a:pPr>
            <a:r>
              <a:rPr lang="fr-CA" sz="1100" b="1" kern="1400" dirty="0">
                <a:solidFill>
                  <a:srgbClr val="1A003B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rnières annonc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D549740-A941-4BE6-91AB-10114099C5D3}"/>
              </a:ext>
            </a:extLst>
          </p:cNvPr>
          <p:cNvSpPr txBox="1"/>
          <p:nvPr/>
        </p:nvSpPr>
        <p:spPr>
          <a:xfrm>
            <a:off x="6003205" y="5081621"/>
            <a:ext cx="3053176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fr-FR" sz="900" b="1" dirty="0">
                <a:solidFill>
                  <a:schemeClr val="tx2"/>
                </a:solidFill>
              </a:rPr>
              <a:t>A320 </a:t>
            </a:r>
            <a:r>
              <a:rPr lang="fr-FR" sz="900" b="1" dirty="0" err="1">
                <a:solidFill>
                  <a:schemeClr val="tx2"/>
                </a:solidFill>
              </a:rPr>
              <a:t>family</a:t>
            </a:r>
            <a:r>
              <a:rPr lang="fr-FR" sz="900" b="1" dirty="0">
                <a:solidFill>
                  <a:schemeClr val="tx2"/>
                </a:solidFill>
              </a:rPr>
              <a:t> (infos SLS) :</a:t>
            </a:r>
          </a:p>
          <a:p>
            <a:pPr marL="447675" indent="-87313">
              <a:buClr>
                <a:schemeClr val="accent5"/>
              </a:buClr>
              <a:buFont typeface="Arial" panose="020B0604020202020204" pitchFamily="34" charset="0"/>
              <a:buChar char="›"/>
            </a:pPr>
            <a:r>
              <a:rPr lang="fr-FR" sz="900" dirty="0">
                <a:solidFill>
                  <a:schemeClr val="tx2"/>
                </a:solidFill>
              </a:rPr>
              <a:t>40 AC/mois en Q2 2021</a:t>
            </a:r>
          </a:p>
          <a:p>
            <a:pPr marL="447675" indent="-87313">
              <a:buClr>
                <a:schemeClr val="accent5"/>
              </a:buClr>
              <a:buFont typeface="Arial" panose="020B0604020202020204" pitchFamily="34" charset="0"/>
              <a:buChar char="›"/>
            </a:pPr>
            <a:r>
              <a:rPr lang="fr-FR" sz="900" dirty="0">
                <a:solidFill>
                  <a:schemeClr val="tx2"/>
                </a:solidFill>
              </a:rPr>
              <a:t>43 AC/mois en Q3 2021</a:t>
            </a:r>
          </a:p>
          <a:p>
            <a:pPr marL="447675" indent="-87313">
              <a:buClr>
                <a:schemeClr val="accent5"/>
              </a:buClr>
              <a:buFont typeface="Arial" panose="020B0604020202020204" pitchFamily="34" charset="0"/>
              <a:buChar char="›"/>
            </a:pPr>
            <a:r>
              <a:rPr lang="fr-FR" sz="900" dirty="0">
                <a:solidFill>
                  <a:schemeClr val="tx2"/>
                </a:solidFill>
              </a:rPr>
              <a:t>45 AC/mois en Q4 2021</a:t>
            </a:r>
          </a:p>
        </p:txBody>
      </p:sp>
      <p:cxnSp>
        <p:nvCxnSpPr>
          <p:cNvPr id="101" name="Connecteur droit 100">
            <a:extLst>
              <a:ext uri="{FF2B5EF4-FFF2-40B4-BE49-F238E27FC236}">
                <a16:creationId xmlns:a16="http://schemas.microsoft.com/office/drawing/2014/main" id="{31F5732E-830B-4973-8237-9325C166A666}"/>
              </a:ext>
            </a:extLst>
          </p:cNvPr>
          <p:cNvCxnSpPr>
            <a:cxnSpLocks/>
          </p:cNvCxnSpPr>
          <p:nvPr/>
        </p:nvCxnSpPr>
        <p:spPr>
          <a:xfrm>
            <a:off x="8953500" y="4925091"/>
            <a:ext cx="0" cy="1404000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Image 101">
            <a:extLst>
              <a:ext uri="{FF2B5EF4-FFF2-40B4-BE49-F238E27FC236}">
                <a16:creationId xmlns:a16="http://schemas.microsoft.com/office/drawing/2014/main" id="{ADAB5243-799D-430E-968D-3F885EFE4B0F}"/>
              </a:ext>
            </a:extLst>
          </p:cNvPr>
          <p:cNvPicPr>
            <a:picLocks/>
          </p:cNvPicPr>
          <p:nvPr/>
        </p:nvPicPr>
        <p:blipFill>
          <a:blip r:embed="rId42"/>
          <a:stretch>
            <a:fillRect/>
          </a:stretch>
        </p:blipFill>
        <p:spPr>
          <a:xfrm>
            <a:off x="6213137" y="4697459"/>
            <a:ext cx="684213" cy="441448"/>
          </a:xfrm>
          <a:prstGeom prst="rect">
            <a:avLst/>
          </a:prstGeom>
        </p:spPr>
      </p:pic>
      <p:pic>
        <p:nvPicPr>
          <p:cNvPr id="103" name="Image 102">
            <a:extLst>
              <a:ext uri="{FF2B5EF4-FFF2-40B4-BE49-F238E27FC236}">
                <a16:creationId xmlns:a16="http://schemas.microsoft.com/office/drawing/2014/main" id="{796BCA53-CE98-4823-A0B6-E73339B26374}"/>
              </a:ext>
            </a:extLst>
          </p:cNvPr>
          <p:cNvPicPr>
            <a:picLocks/>
          </p:cNvPicPr>
          <p:nvPr/>
        </p:nvPicPr>
        <p:blipFill rotWithShape="1">
          <a:blip r:embed="rId43"/>
          <a:srcRect t="63342"/>
          <a:stretch/>
        </p:blipFill>
        <p:spPr>
          <a:xfrm>
            <a:off x="9166676" y="4841650"/>
            <a:ext cx="684213" cy="166688"/>
          </a:xfrm>
          <a:prstGeom prst="rect">
            <a:avLst/>
          </a:prstGeom>
        </p:spPr>
      </p:pic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D61B3765-AA7C-46B6-9B34-B8DC253EF02B}"/>
              </a:ext>
            </a:extLst>
          </p:cNvPr>
          <p:cNvCxnSpPr/>
          <p:nvPr/>
        </p:nvCxnSpPr>
        <p:spPr>
          <a:xfrm flipV="1">
            <a:off x="238898" y="1717516"/>
            <a:ext cx="5112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Connecteur droit 270">
            <a:extLst>
              <a:ext uri="{FF2B5EF4-FFF2-40B4-BE49-F238E27FC236}">
                <a16:creationId xmlns:a16="http://schemas.microsoft.com/office/drawing/2014/main" id="{43995405-9F1C-413F-BAE8-4B292BEE38A3}"/>
              </a:ext>
            </a:extLst>
          </p:cNvPr>
          <p:cNvCxnSpPr/>
          <p:nvPr/>
        </p:nvCxnSpPr>
        <p:spPr>
          <a:xfrm flipV="1">
            <a:off x="6096000" y="1717516"/>
            <a:ext cx="3420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Connecteur droit 271">
            <a:extLst>
              <a:ext uri="{FF2B5EF4-FFF2-40B4-BE49-F238E27FC236}">
                <a16:creationId xmlns:a16="http://schemas.microsoft.com/office/drawing/2014/main" id="{0B8BD528-A892-4230-812F-CE7BBF389505}"/>
              </a:ext>
            </a:extLst>
          </p:cNvPr>
          <p:cNvCxnSpPr/>
          <p:nvPr/>
        </p:nvCxnSpPr>
        <p:spPr>
          <a:xfrm flipV="1">
            <a:off x="6035675" y="4751138"/>
            <a:ext cx="1332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ZoneTexte 272">
            <a:extLst>
              <a:ext uri="{FF2B5EF4-FFF2-40B4-BE49-F238E27FC236}">
                <a16:creationId xmlns:a16="http://schemas.microsoft.com/office/drawing/2014/main" id="{ECCFAE51-245D-4D55-81AD-B97B1FD81D3E}"/>
              </a:ext>
            </a:extLst>
          </p:cNvPr>
          <p:cNvSpPr txBox="1"/>
          <p:nvPr/>
        </p:nvSpPr>
        <p:spPr>
          <a:xfrm>
            <a:off x="11009092" y="6201030"/>
            <a:ext cx="1044575" cy="184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Airbus, Boeing</a:t>
            </a:r>
          </a:p>
        </p:txBody>
      </p:sp>
      <p:sp>
        <p:nvSpPr>
          <p:cNvPr id="274" name="ZoneTexte 273">
            <a:extLst>
              <a:ext uri="{FF2B5EF4-FFF2-40B4-BE49-F238E27FC236}">
                <a16:creationId xmlns:a16="http://schemas.microsoft.com/office/drawing/2014/main" id="{77D109C9-1C0C-4449-984E-E7DA0AA3F340}"/>
              </a:ext>
            </a:extLst>
          </p:cNvPr>
          <p:cNvSpPr txBox="1"/>
          <p:nvPr/>
        </p:nvSpPr>
        <p:spPr>
          <a:xfrm>
            <a:off x="4724401" y="6199399"/>
            <a:ext cx="125726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</a:rPr>
              <a:t> Source : estimations internes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EC6758B0-B622-4FC5-A398-E5DF4655F1C2}"/>
              </a:ext>
            </a:extLst>
          </p:cNvPr>
          <p:cNvSpPr txBox="1"/>
          <p:nvPr/>
        </p:nvSpPr>
        <p:spPr>
          <a:xfrm>
            <a:off x="9002692" y="5081621"/>
            <a:ext cx="2972722" cy="559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2"/>
                </a:solidFill>
              </a:rPr>
              <a:t>737 Max (infos SLS) :</a:t>
            </a:r>
          </a:p>
          <a:p>
            <a:pPr marL="447675" indent="-87313"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›"/>
            </a:pPr>
            <a:r>
              <a:rPr lang="fr-FR" sz="900" dirty="0">
                <a:solidFill>
                  <a:schemeClr val="tx2"/>
                </a:solidFill>
              </a:rPr>
              <a:t>17 / mois à partir de juillet 2021</a:t>
            </a:r>
          </a:p>
          <a:p>
            <a:pPr marL="447675" indent="-87313">
              <a:buClr>
                <a:schemeClr val="accent5"/>
              </a:buClr>
              <a:buFont typeface="Arial" panose="020B0604020202020204" pitchFamily="34" charset="0"/>
              <a:buChar char="›"/>
            </a:pPr>
            <a:r>
              <a:rPr lang="fr-FR" sz="900" dirty="0">
                <a:solidFill>
                  <a:schemeClr val="tx2"/>
                </a:solidFill>
              </a:rPr>
              <a:t>31 / mois à partir de juillet 2022</a:t>
            </a:r>
          </a:p>
        </p:txBody>
      </p:sp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DF0D7C7F-1667-4335-A3D4-845FCD7427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0279964"/>
              </p:ext>
            </p:extLst>
          </p:nvPr>
        </p:nvGraphicFramePr>
        <p:xfrm>
          <a:off x="375431" y="2053880"/>
          <a:ext cx="5415078" cy="3289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Worksheet" r:id="rId44" imgW="7054788" imgH="4286250" progId="Excel.Sheet.12">
                  <p:embed/>
                </p:oleObj>
              </mc:Choice>
              <mc:Fallback>
                <p:oleObj name="Worksheet" r:id="rId44" imgW="7054788" imgH="4286250" progId="Excel.Sheet.12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DF0D7C7F-1667-4335-A3D4-845FCD7427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375431" y="2053880"/>
                        <a:ext cx="5415078" cy="32899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25315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E7DA7668-F055-4F95-BFC7-13B8944E8B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453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E7DA7668-F055-4F95-BFC7-13B8944E8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014238A3-36EC-4E98-A577-C0177F492E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5EB0EC0-0933-4992-8D7A-15F7F1CE6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1 : Cadence moyenne mensuelle FAL 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C6CCB95-1F50-4BA4-B4AB-560C54020EA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E277686-3CB4-4845-812A-CD9C4BBFEC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6</a:t>
            </a:fld>
            <a:endParaRPr lang="fr-FR" dirty="0"/>
          </a:p>
        </p:txBody>
      </p:sp>
      <p:pic>
        <p:nvPicPr>
          <p:cNvPr id="30" name="Image 31">
            <a:extLst>
              <a:ext uri="{FF2B5EF4-FFF2-40B4-BE49-F238E27FC236}">
                <a16:creationId xmlns:a16="http://schemas.microsoft.com/office/drawing/2014/main" id="{F17B410F-FC81-451A-BCA1-8E145F3D36C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028F9A50-9264-4D88-B30E-9A2C0A44EF1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9806" y="3358689"/>
            <a:ext cx="2272923" cy="11997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rmAutofit/>
          </a:bodyPr>
          <a:lstStyle/>
          <a:p>
            <a:r>
              <a:rPr lang="fr-FR" sz="16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-cliquer sur le tableau pour accéder au filtre</a:t>
            </a:r>
          </a:p>
        </p:txBody>
      </p:sp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5EE492BF-1A4C-479E-A6BE-578537C7887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85080088"/>
              </p:ext>
            </p:extLst>
          </p:nvPr>
        </p:nvGraphicFramePr>
        <p:xfrm>
          <a:off x="719401" y="939432"/>
          <a:ext cx="10576803" cy="56581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Worksheet" r:id="rId9" imgW="12928649" imgH="6915150" progId="Excel.Sheet.12">
                  <p:embed/>
                </p:oleObj>
              </mc:Choice>
              <mc:Fallback>
                <p:oleObj name="Worksheet" r:id="rId9" imgW="12928649" imgH="6915150" progId="Excel.Sheet.12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5EE492BF-1A4C-479E-A6BE-578537C78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19401" y="939432"/>
                        <a:ext cx="10576803" cy="565817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5834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7387BF00-5B9D-4403-A3F3-153C68A44B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615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7387BF00-5B9D-4403-A3F3-153C68A44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CAAD1A-4DDC-49BE-9780-6C6022A863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7DA671E3-E682-4B30-8BFE-0AE634B17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2 : Nb d’avions livrés par mois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CC6CF90-4490-47BC-B438-06C3F0707D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03445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677E086-CC59-4E36-AB9B-BD096D1F93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7</a:t>
            </a:fld>
            <a:endParaRPr lang="fr-FR" dirty="0"/>
          </a:p>
        </p:txBody>
      </p:sp>
      <p:pic>
        <p:nvPicPr>
          <p:cNvPr id="13" name="Image 31">
            <a:extLst>
              <a:ext uri="{FF2B5EF4-FFF2-40B4-BE49-F238E27FC236}">
                <a16:creationId xmlns:a16="http://schemas.microsoft.com/office/drawing/2014/main" id="{FB0D4C9F-BFA7-477B-A44B-65C65F5A38A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3576B291-870D-44FD-9FA3-AA1BF14D1F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0903021"/>
              </p:ext>
            </p:extLst>
          </p:nvPr>
        </p:nvGraphicFramePr>
        <p:xfrm>
          <a:off x="50800" y="1737928"/>
          <a:ext cx="12080240" cy="34589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Worksheet" r:id="rId8" imgW="16903873" imgH="4838656" progId="Excel.Sheet.12">
                  <p:embed/>
                </p:oleObj>
              </mc:Choice>
              <mc:Fallback>
                <p:oleObj name="Worksheet" r:id="rId8" imgW="16903873" imgH="4838656" progId="Excel.Sheet.12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3576B291-870D-44FD-9FA3-AA1BF14D1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0800" y="1737928"/>
                        <a:ext cx="12080240" cy="34589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32186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46297289-D89A-4022-863D-9CAFB2B950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948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46297289-D89A-4022-863D-9CAFB2B95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D7EA698-E32C-4816-AB17-1E3C0A14BA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1E85521E-3BC9-4E46-AD00-ECED7A465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3 : Nb d’avions commandés (et annulés) par mois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25995B7-B492-4831-8114-3A3724BB78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6E228E0-F2C9-40BB-A5F1-B384425D6C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8</a:t>
            </a:fld>
            <a:endParaRPr lang="fr-FR" dirty="0"/>
          </a:p>
        </p:txBody>
      </p:sp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38B6BD78-6A45-408D-AF7D-EC04AA6CB92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33206781"/>
              </p:ext>
            </p:extLst>
          </p:nvPr>
        </p:nvGraphicFramePr>
        <p:xfrm>
          <a:off x="630736" y="1440815"/>
          <a:ext cx="10535104" cy="3740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Worksheet" r:id="rId7" imgW="14090638" imgH="5003962" progId="Excel.Sheet.12">
                  <p:embed/>
                </p:oleObj>
              </mc:Choice>
              <mc:Fallback>
                <p:oleObj name="Worksheet" r:id="rId7" imgW="14090638" imgH="5003962" progId="Excel.Sheet.12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38B6BD78-6A45-408D-AF7D-EC04AA6CB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30736" y="1440815"/>
                        <a:ext cx="10535104" cy="3740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49572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B56FB8D4-6CD3-4855-9504-D34C48199A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750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B56FB8D4-6CD3-4855-9504-D34C48199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335AC3-6BAB-4119-A38E-88A1480EB1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3F6C8516-1C37-4F88-9BE5-EC9DFD5E9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bleau 4 : Evolution du carnet de commandes Airbus/Boeing 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22DD85-AC81-4544-86A0-A27E8C74E4B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49451" y="6347411"/>
            <a:ext cx="4560000" cy="440684"/>
          </a:xfrm>
        </p:spPr>
        <p:txBody>
          <a:bodyPr/>
          <a:lstStyle/>
          <a:p>
            <a:pPr algn="l"/>
            <a:r>
              <a:rPr lang="fr-FR"/>
              <a:t>Dashboard Marché Aéronautique - Mars 2021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DE35B5E-9114-4913-9822-486992F225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719401" y="6347411"/>
            <a:ext cx="384044" cy="440684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16" name="Image 31">
            <a:extLst>
              <a:ext uri="{FF2B5EF4-FFF2-40B4-BE49-F238E27FC236}">
                <a16:creationId xmlns:a16="http://schemas.microsoft.com/office/drawing/2014/main" id="{D316BC77-F9F1-4536-AE08-A90F6E4C7F1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14055">
            <a:off x="11003683" y="-53447"/>
            <a:ext cx="936633" cy="936633"/>
          </a:xfrm>
          <a:prstGeom prst="rect">
            <a:avLst/>
          </a:prstGeom>
        </p:spPr>
      </p:pic>
      <p:graphicFrame>
        <p:nvGraphicFramePr>
          <p:cNvPr id="2" name="Objet 1">
            <a:extLst>
              <a:ext uri="{FF2B5EF4-FFF2-40B4-BE49-F238E27FC236}">
                <a16:creationId xmlns:a16="http://schemas.microsoft.com/office/drawing/2014/main" id="{B6BE4C5B-B06C-499F-8268-08338F6700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96165030"/>
              </p:ext>
            </p:extLst>
          </p:nvPr>
        </p:nvGraphicFramePr>
        <p:xfrm>
          <a:off x="1209040" y="1415041"/>
          <a:ext cx="8416924" cy="44364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Worksheet" r:id="rId8" imgW="10433038" imgH="5499085" progId="Excel.Sheet.12">
                  <p:embed/>
                </p:oleObj>
              </mc:Choice>
              <mc:Fallback>
                <p:oleObj name="Worksheet" r:id="rId8" imgW="10433038" imgH="5499085" progId="Excel.Sheet.12">
                  <p:embed/>
                  <p:pic>
                    <p:nvPicPr>
                      <p:cNvPr id="2" name="Objet 1">
                        <a:extLst>
                          <a:ext uri="{FF2B5EF4-FFF2-40B4-BE49-F238E27FC236}">
                            <a16:creationId xmlns:a16="http://schemas.microsoft.com/office/drawing/2014/main" id="{B6BE4C5B-B06C-499F-8268-08338F6700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09040" y="1415041"/>
                        <a:ext cx="8416924" cy="44364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2461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DIVIDERS_STYLE_TAG" val="POWER_USER_LAYOUT_DIVIDER"/>
  <p:tag name="POWER_USER_PPT_AGENDA_PRESENTATION_COLOR_TAG" val="#FBF315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2.36609999999999986997E+00&quot;&gt;&lt;m_msothmcolidx val=&quot;0&quot;/&gt;&lt;m_rgb r=&quot;44&quot; g=&quot;54&quot; b=&quot;6A&quot;/&gt;&lt;/elem&gt;&lt;elem m_fUsage=&quot;1.80002107073961026273E+00&quot;&gt;&lt;m_msothmcolidx val=&quot;0&quot;/&gt;&lt;m_rgb r=&quot;CE&quot; g=&quot;D0&quot; b=&quot;E1&quot;/&gt;&lt;/elem&gt;&lt;elem m_fUsage=&quot;1.65854711931390008672E+00&quot;&gt;&lt;m_msothmcolidx val=&quot;0&quot;/&gt;&lt;m_rgb r=&quot;FD&quot; g=&quot;C1&quot; b=&quot;A1&quot;/&gt;&lt;/elem&gt;&lt;elem m_fUsage=&quot;1.00000000000000000000E+00&quot;&gt;&lt;m_msothmcolidx val=&quot;0&quot;/&gt;&lt;m_rgb r=&quot;B6&quot; g=&quot;B8&quot; b=&quot;D1&quot;/&gt;&lt;/elem&gt;&lt;elem m_fUsage=&quot;7.29000000000000092371E-01&quot;&gt;&lt;m_msothmcolidx val=&quot;0&quot;/&gt;&lt;m_rgb r=&quot;3C&quot; g=&quot;3F&quot; b=&quot;60&quot;/&gt;&lt;/elem&gt;&lt;elem m_fUsage=&quot;3.87420489000000145552E-01&quot;&gt;&lt;m_msothmcolidx val=&quot;0&quot;/&gt;&lt;m_rgb r=&quot;5A&quot; g=&quot;5F&quot; b=&quot;90&quot;/&gt;&lt;/elem&gt;&lt;elem m_fUsage=&quot;2.05891132094649098594E-01&quot;&gt;&lt;m_msothmcolidx val=&quot;0&quot;/&gt;&lt;m_rgb r=&quot;47&quot; g=&quot;4C&quot; b=&quot;8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Gbg7IABN0lxp1M4uz42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0jsYnIqUaCFo0E7S2bP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ROotqri0clbxqFMBtk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.JIUhJmjYzuzrtdZaM1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bTEsUutV4n7mv4HsNom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GROB8TpLTOwpQGNmn_L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p5xD4nx1dap910jM0ib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qOoK3BaUxpQfkuD1txv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1wAAxr.yZml0TWClXb4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q7mGx6_fA7eDAz4sPDX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JAgD.UnQK4q2F3P6wp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jQmZFXv1aelvCnuBP1D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ZwW_SZqqgO0sNenw4XB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iK01dYwjTbmCF2u1HT7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AbTk8JSxveMVLEI4tCh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vgxrdcnN80oaPifVs4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FBUjP7vAaDMx7g5s3tR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0n22tSYIFqbtkfPpQUr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rGxFiwPhyzVdi2iMsam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lzW5U0rqHnI4pfy_En7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O1DgE8vDzAzBv1LTrn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m6ibuuJ0A_zoGu44.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4owzGE2h51st_vAotzN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tZxd.U7lrhIcXOrCpUl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7cJRZ1OoljkpMH4icx_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OwKbcsHA8qE0PyNb6rT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rwL4dU2NDgvvUO_DJET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srj58Jmxnn7Ps7RS6TG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nzFEhf1bGf7nXMF0bZD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Nq13YfZcLQirhtY2KxF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iZr8HH0fJTEw7ZH2dZ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STICKY_NOTES" val="POWER_USER_STICKY_NOTES"/>
  <p:tag name="POWER_USER_CONTEXTUAL_SHAPES_TAG" val="POWER_USER_CONTEXTUAL_SHAPES_STICKY_NOT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uI4kgGX4pJ1ZI8v9X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eYcfAC0_s4_1Bler8wD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_nEq7R4.V1.gWnHMgoN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GpjgE5BDd1u0Dl_yJP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LR48BPYuboqUDk3gb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Dashboard_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DjobRa9EhnWagM7rxI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nwbDusQKb2g21nbxT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RwD3pUx0yq4b.lMaYy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Sdk3aVWJLmj83Xj4LP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EYAQFqdvDnBR38AOJj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fqXZOQn0fEOmJ6DAtL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vQ.ieuppO8du0OLeYb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tXG0NwWKjLdGYR40r3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l4Jbs8OXyQqO3keumD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6RHhtrT_IH.fk5OSmT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xo7AWda4pt_z7gmuza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zdg3esHNyKT5IpA87A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kGcSJiMf7UKHNMYlIg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X1EvEKU1D7MtigmhxR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m9_4gt8sdkFmNjcUUD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1joY1.cQvY1wrRP.My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zEoVgM18IbToRMSWqt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5jEqWZaMfHIaNTRnr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QkTPCrrQZDQoBxbPcN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FIxEe0xNYFstyqJ_57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zmql3qBXl.iK3GT4X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IDCxPFh_K1rVV4M_k2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1miFJOd6eE7j30ULv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tFAgrsYNa1jZBeDQWuz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UObIUO5ufT36v8Z9_s0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4c8YtZe3pnXZH8KO.Jo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s_hC4gH8A2zxbpI9fzO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xfI0HbEPOCrEpv7Crq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HDAcIJyrkQpsduz2c0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QK1SWAmoiyaXjRpnnc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OW.b7K4UTftk73.DBw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iXxJROb8gWa5spBUey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0cjN4FjEVH3Vc..2xO6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RCE76kBjdlAxZ6w_Rh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FpPuOmUPuqVe7JPkKTR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7VsyJ9W.YZJbdm8t0q.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RfYXMLROGPE9B0Erzo4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d9D8MMuAFrqtmWC0Xx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qcAlnggTm1LRW5GArr_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2zCKB6fzSgwJmvMqCR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sseQ1u_wjYAqMAZNxic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vOsj9Humle_d4E0EPr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dE70q9hJqRbcZ6A962g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qDUCy7JRSMExnQdLTo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63FM7B.XYxSareGmQd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.bDdewJXJbS_kBmx9I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9FH9fEh.uhVooaKJQCq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IL89Q6QUQP_zX1vZdI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J56vnG1Mr6mzQfDAYLq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JLt2CqGlpCq34SREDIr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HvnuqELUl_oh2pkRnp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kTOkGoVZ31cpAULReV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KbrKUBN8QXGirvQbLoi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_hflqCW3_dFgmNQEn_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rZhIJF.nmJumUt_J.Cq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8Gnazn1N.Hs6F52yLfQ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euFrrZd.2g_RhiAc80.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q9akRr0KPFo.HYYWu88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lYDzTpdRnATWOikXAJ8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_Lsb6AC7qr_Nzh7Fe0S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zTDh6VHiwT6o1LtacW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kqDfQl_b7_RzccRQVaz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Kj3fL5LJLBgZj3kqMS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QuiRyoQKyYfu5rY7w5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QuFhg1MPnx1o6Gl1u14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F1HXF2iV3WoYvLHKI9L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ouhPCgDFrGVbSNt3OU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OQEFV5s4EoAmfzUDIX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12uO0MZqe4oxeRmPW.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huASesQVAHxkV2xRgn1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1yktDrKyeWqBbM158Pu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UAIbPjBjRz0DZS2Is30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crUj4jl47apFNnPrSzL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KEXR7U2xIyUGhw07Yx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H8Xc4L4lhnJGoLxXu2_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EWYtzpyRgoy4OJTuv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p1DnJE4xlLNLP61cHJ4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HbTKdC3g7N3eDzCbEm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W2r8eBhSHQJ4KXWI0rn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917AE093-D46A-4816-B0B5-19825993B93F&quot;,&quot;SourceFullName&quot;:&quot;https://erametgroup-my.sharepoint.com/personal/sandrine_provenchere_eramet_com/Documents/06_DASHBOARD/Dashboard-Suivi-Mensuel-Aero/DASHBOARD/2021_Dashboard_marché-AERO.xlsx&quot;,&quot;LastUpdate&quot;:&quot;2021-04-14 5:19 PM&quot;,&quot;UpdatedBy&quot;:&quot;sandrine.provenchere&quot;,&quot;IsLinked&quot;:false,&quot;IsBrokenLink&quot;:fals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57A06DB0-39DD-4962-B656-E2C6DF245468&quot;,&quot;SourceFullName&quot;:&quot;https://erametgroup-my.sharepoint.com/personal/sandrine_provenchere_eramet_com/Documents/06_DASHBOARD/Dashboard-Suivi-Mensuel-Aero/DASHBOARD/2021_Dashboard_marché-AERO.xlsx&quot;,&quot;LastUpdate&quot;:&quot;2021-04-14 5:23 PM&quot;,&quot;UpdatedBy&quot;:&quot;sandrine.provenchere&quot;,&quot;IsLinked&quot;:false,&quot;IsBrokenLink&quot;:fals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i2npsQTMgYnj3l2U_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.wLExhF5ZlfkInVcFQJA"/>
</p:tagLst>
</file>

<file path=ppt/theme/theme1.xml><?xml version="1.0" encoding="utf-8"?>
<a:theme xmlns:a="http://schemas.openxmlformats.org/drawingml/2006/main" name="Default Theme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2E9707B0-AFAD-4E37-83B2-65E56D92304B}" vid="{56E404CF-8FED-452B-B090-8A2F0CF3A5F2}"/>
    </a:ext>
  </a:extLst>
</a:theme>
</file>

<file path=ppt/theme/theme2.xml><?xml version="1.0" encoding="utf-8"?>
<a:theme xmlns:a="http://schemas.openxmlformats.org/drawingml/2006/main" name="1_AUBERT&amp;DUVAL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869ED258-25C0-47E6-944C-BF97BD6B4D0D}"/>
    </a:ext>
  </a:extLst>
</a:theme>
</file>

<file path=ppt/theme/theme3.xml><?xml version="1.0" encoding="utf-8"?>
<a:theme xmlns:a="http://schemas.openxmlformats.org/drawingml/2006/main" name="2_ERASTEEL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54DB7B35-2F85-4150-AA57-186F44BF3FE3}"/>
    </a:ext>
  </a:extLst>
</a:theme>
</file>

<file path=ppt/theme/theme4.xml><?xml version="1.0" encoding="utf-8"?>
<a:theme xmlns:a="http://schemas.openxmlformats.org/drawingml/2006/main" name="3_AD+ES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B819F255-57F9-4B1D-AB7F-76E33A917C4A}" vid="{5278248A-07DD-46FD-9847-6640A84025F1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780</TotalTime>
  <Words>823</Words>
  <Application>Microsoft Office PowerPoint</Application>
  <PresentationFormat>Grand écran</PresentationFormat>
  <Paragraphs>258</Paragraphs>
  <Slides>10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10</vt:i4>
      </vt:variant>
    </vt:vector>
  </HeadingPairs>
  <TitlesOfParts>
    <vt:vector size="20" baseType="lpstr">
      <vt:lpstr>Wingdings</vt:lpstr>
      <vt:lpstr>Arial</vt:lpstr>
      <vt:lpstr>Calibri</vt:lpstr>
      <vt:lpstr>Default Theme</vt:lpstr>
      <vt:lpstr>1_AUBERT&amp;DUVAL</vt:lpstr>
      <vt:lpstr>2_ERASTEEL</vt:lpstr>
      <vt:lpstr>3_AD+ES</vt:lpstr>
      <vt:lpstr>Diapositive think-cell</vt:lpstr>
      <vt:lpstr>Worksheet</vt:lpstr>
      <vt:lpstr>Feuille de calcul Microsoft Excel</vt:lpstr>
      <vt:lpstr>DASHBOARD MARCHE AERONAUTIQUE</vt:lpstr>
      <vt:lpstr>Faits Marquants</vt:lpstr>
      <vt:lpstr>Dashboard Trafic Aérien Février / Mars 2021</vt:lpstr>
      <vt:lpstr>Dashboard Airbus/Boeing Mars 2021</vt:lpstr>
      <vt:lpstr>Prévisions des cadences de production</vt:lpstr>
      <vt:lpstr>Tableau 1 : Cadence moyenne mensuelle FAL </vt:lpstr>
      <vt:lpstr>Tableau 2 : Nb d’avions livrés par mois</vt:lpstr>
      <vt:lpstr>Tableau 3 : Nb d’avions commandés (et annulés) par mois</vt:lpstr>
      <vt:lpstr>Tableau 4 : Evolution du carnet de commandes Airbus/Boeing </vt:lpstr>
      <vt:lpstr>Tableau 5 : Nb d’avions produits non-livré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ROVENCHERE Sandrine</dc:creator>
  <cp:lastModifiedBy>PROVENCHERE Sandrine</cp:lastModifiedBy>
  <cp:revision>117</cp:revision>
  <dcterms:created xsi:type="dcterms:W3CDTF">2020-09-09T09:18:45Z</dcterms:created>
  <dcterms:modified xsi:type="dcterms:W3CDTF">2021-04-14T19:29:17Z</dcterms:modified>
</cp:coreProperties>
</file>